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80" r:id="rId3"/>
    <p:sldId id="273" r:id="rId4"/>
    <p:sldId id="274" r:id="rId5"/>
    <p:sldId id="275" r:id="rId6"/>
    <p:sldId id="276" r:id="rId7"/>
    <p:sldId id="279" r:id="rId8"/>
    <p:sldId id="260" r:id="rId9"/>
    <p:sldId id="261" r:id="rId10"/>
    <p:sldId id="278" r:id="rId11"/>
    <p:sldId id="271" r:id="rId12"/>
    <p:sldId id="272" r:id="rId13"/>
    <p:sldId id="281" r:id="rId14"/>
  </p:sldIdLst>
  <p:sldSz cx="9144000" cy="6858000" type="screen4x3"/>
  <p:notesSz cx="6858000" cy="9144000"/>
  <p:custDataLst>
    <p:tags r:id="rId16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4841A"/>
    <a:srgbClr val="1D71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3250" autoAdjust="0"/>
  </p:normalViewPr>
  <p:slideViewPr>
    <p:cSldViewPr>
      <p:cViewPr>
        <p:scale>
          <a:sx n="100" d="100"/>
          <a:sy n="100" d="100"/>
        </p:scale>
        <p:origin x="-1362" y="22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4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5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6.xlsx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24807754680788E-2"/>
          <c:y val="1.9943230044205038E-2"/>
          <c:w val="0.90346697580724833"/>
          <c:h val="0.90470881559534488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pot Price</c:v>
                </c:pt>
              </c:strCache>
            </c:strRef>
          </c:tx>
          <c:spPr>
            <a:ln w="25873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Hoja1!$A$2:$A$1290</c:f>
              <c:numCache>
                <c:formatCode>m/d/yyyy</c:formatCode>
                <c:ptCount val="1289"/>
                <c:pt idx="0">
                  <c:v>40547</c:v>
                </c:pt>
                <c:pt idx="1">
                  <c:v>40548</c:v>
                </c:pt>
                <c:pt idx="2">
                  <c:v>40549</c:v>
                </c:pt>
                <c:pt idx="3">
                  <c:v>40550</c:v>
                </c:pt>
                <c:pt idx="4">
                  <c:v>40553</c:v>
                </c:pt>
                <c:pt idx="5">
                  <c:v>40554</c:v>
                </c:pt>
                <c:pt idx="6">
                  <c:v>40555</c:v>
                </c:pt>
                <c:pt idx="7">
                  <c:v>40556</c:v>
                </c:pt>
                <c:pt idx="8">
                  <c:v>40557</c:v>
                </c:pt>
                <c:pt idx="9">
                  <c:v>40560</c:v>
                </c:pt>
                <c:pt idx="10">
                  <c:v>40561</c:v>
                </c:pt>
                <c:pt idx="11">
                  <c:v>40562</c:v>
                </c:pt>
                <c:pt idx="12">
                  <c:v>40563</c:v>
                </c:pt>
                <c:pt idx="13">
                  <c:v>40564</c:v>
                </c:pt>
                <c:pt idx="14">
                  <c:v>40567</c:v>
                </c:pt>
                <c:pt idx="15">
                  <c:v>40568</c:v>
                </c:pt>
                <c:pt idx="16">
                  <c:v>40569</c:v>
                </c:pt>
                <c:pt idx="17">
                  <c:v>40570</c:v>
                </c:pt>
                <c:pt idx="18">
                  <c:v>40571</c:v>
                </c:pt>
                <c:pt idx="19">
                  <c:v>40574</c:v>
                </c:pt>
                <c:pt idx="20">
                  <c:v>40575</c:v>
                </c:pt>
                <c:pt idx="21">
                  <c:v>40576</c:v>
                </c:pt>
                <c:pt idx="22">
                  <c:v>40577</c:v>
                </c:pt>
                <c:pt idx="23">
                  <c:v>40578</c:v>
                </c:pt>
                <c:pt idx="24">
                  <c:v>40581</c:v>
                </c:pt>
                <c:pt idx="25">
                  <c:v>40582</c:v>
                </c:pt>
                <c:pt idx="26">
                  <c:v>40583</c:v>
                </c:pt>
                <c:pt idx="27">
                  <c:v>40584</c:v>
                </c:pt>
                <c:pt idx="28">
                  <c:v>40585</c:v>
                </c:pt>
                <c:pt idx="29">
                  <c:v>40588</c:v>
                </c:pt>
                <c:pt idx="30">
                  <c:v>40589</c:v>
                </c:pt>
                <c:pt idx="31">
                  <c:v>40590</c:v>
                </c:pt>
                <c:pt idx="32">
                  <c:v>40591</c:v>
                </c:pt>
                <c:pt idx="33">
                  <c:v>40592</c:v>
                </c:pt>
                <c:pt idx="34">
                  <c:v>40595</c:v>
                </c:pt>
                <c:pt idx="35">
                  <c:v>40596</c:v>
                </c:pt>
                <c:pt idx="36">
                  <c:v>40597</c:v>
                </c:pt>
                <c:pt idx="37">
                  <c:v>40598</c:v>
                </c:pt>
                <c:pt idx="38">
                  <c:v>40599</c:v>
                </c:pt>
                <c:pt idx="39">
                  <c:v>40602</c:v>
                </c:pt>
                <c:pt idx="40">
                  <c:v>40603</c:v>
                </c:pt>
                <c:pt idx="41">
                  <c:v>40604</c:v>
                </c:pt>
                <c:pt idx="42">
                  <c:v>40605</c:v>
                </c:pt>
                <c:pt idx="43">
                  <c:v>40606</c:v>
                </c:pt>
                <c:pt idx="44">
                  <c:v>40609</c:v>
                </c:pt>
                <c:pt idx="45">
                  <c:v>40610</c:v>
                </c:pt>
                <c:pt idx="46">
                  <c:v>40611</c:v>
                </c:pt>
                <c:pt idx="47">
                  <c:v>40612</c:v>
                </c:pt>
                <c:pt idx="48">
                  <c:v>40613</c:v>
                </c:pt>
                <c:pt idx="49">
                  <c:v>40616</c:v>
                </c:pt>
                <c:pt idx="50">
                  <c:v>40617</c:v>
                </c:pt>
                <c:pt idx="51">
                  <c:v>40618</c:v>
                </c:pt>
                <c:pt idx="52">
                  <c:v>40619</c:v>
                </c:pt>
                <c:pt idx="53">
                  <c:v>40620</c:v>
                </c:pt>
                <c:pt idx="54">
                  <c:v>40623</c:v>
                </c:pt>
                <c:pt idx="55">
                  <c:v>40624</c:v>
                </c:pt>
                <c:pt idx="56">
                  <c:v>40625</c:v>
                </c:pt>
                <c:pt idx="57">
                  <c:v>40626</c:v>
                </c:pt>
                <c:pt idx="58">
                  <c:v>40627</c:v>
                </c:pt>
                <c:pt idx="59">
                  <c:v>40630</c:v>
                </c:pt>
                <c:pt idx="60">
                  <c:v>40631</c:v>
                </c:pt>
                <c:pt idx="61">
                  <c:v>40632</c:v>
                </c:pt>
                <c:pt idx="62">
                  <c:v>40633</c:v>
                </c:pt>
                <c:pt idx="63">
                  <c:v>40634</c:v>
                </c:pt>
                <c:pt idx="64">
                  <c:v>40637</c:v>
                </c:pt>
                <c:pt idx="65">
                  <c:v>40638</c:v>
                </c:pt>
                <c:pt idx="66">
                  <c:v>40639</c:v>
                </c:pt>
                <c:pt idx="67">
                  <c:v>40640</c:v>
                </c:pt>
                <c:pt idx="68">
                  <c:v>40641</c:v>
                </c:pt>
                <c:pt idx="69">
                  <c:v>40644</c:v>
                </c:pt>
                <c:pt idx="70">
                  <c:v>40645</c:v>
                </c:pt>
                <c:pt idx="71">
                  <c:v>40646</c:v>
                </c:pt>
                <c:pt idx="72">
                  <c:v>40647</c:v>
                </c:pt>
                <c:pt idx="73">
                  <c:v>40648</c:v>
                </c:pt>
                <c:pt idx="74">
                  <c:v>40651</c:v>
                </c:pt>
                <c:pt idx="75">
                  <c:v>40652</c:v>
                </c:pt>
                <c:pt idx="76">
                  <c:v>40653</c:v>
                </c:pt>
                <c:pt idx="77">
                  <c:v>40654</c:v>
                </c:pt>
                <c:pt idx="78">
                  <c:v>40658</c:v>
                </c:pt>
                <c:pt idx="79">
                  <c:v>40659</c:v>
                </c:pt>
                <c:pt idx="80">
                  <c:v>40660</c:v>
                </c:pt>
                <c:pt idx="81">
                  <c:v>40661</c:v>
                </c:pt>
                <c:pt idx="82">
                  <c:v>40662</c:v>
                </c:pt>
                <c:pt idx="83">
                  <c:v>40665</c:v>
                </c:pt>
                <c:pt idx="84">
                  <c:v>40666</c:v>
                </c:pt>
                <c:pt idx="85">
                  <c:v>40667</c:v>
                </c:pt>
                <c:pt idx="86">
                  <c:v>40668</c:v>
                </c:pt>
                <c:pt idx="87">
                  <c:v>40669</c:v>
                </c:pt>
                <c:pt idx="88">
                  <c:v>40672</c:v>
                </c:pt>
                <c:pt idx="89">
                  <c:v>40673</c:v>
                </c:pt>
                <c:pt idx="90">
                  <c:v>40674</c:v>
                </c:pt>
                <c:pt idx="91">
                  <c:v>40675</c:v>
                </c:pt>
                <c:pt idx="92">
                  <c:v>40676</c:v>
                </c:pt>
                <c:pt idx="93">
                  <c:v>40679</c:v>
                </c:pt>
                <c:pt idx="94">
                  <c:v>40680</c:v>
                </c:pt>
                <c:pt idx="95">
                  <c:v>40681</c:v>
                </c:pt>
                <c:pt idx="96">
                  <c:v>40682</c:v>
                </c:pt>
                <c:pt idx="97">
                  <c:v>40683</c:v>
                </c:pt>
                <c:pt idx="98">
                  <c:v>40686</c:v>
                </c:pt>
                <c:pt idx="99">
                  <c:v>40687</c:v>
                </c:pt>
                <c:pt idx="100">
                  <c:v>40688</c:v>
                </c:pt>
                <c:pt idx="101">
                  <c:v>40689</c:v>
                </c:pt>
                <c:pt idx="102">
                  <c:v>40690</c:v>
                </c:pt>
                <c:pt idx="103">
                  <c:v>40693</c:v>
                </c:pt>
                <c:pt idx="104">
                  <c:v>40694</c:v>
                </c:pt>
                <c:pt idx="105">
                  <c:v>40695</c:v>
                </c:pt>
                <c:pt idx="106">
                  <c:v>40696</c:v>
                </c:pt>
                <c:pt idx="107">
                  <c:v>40697</c:v>
                </c:pt>
                <c:pt idx="108">
                  <c:v>40700</c:v>
                </c:pt>
                <c:pt idx="109">
                  <c:v>40701</c:v>
                </c:pt>
                <c:pt idx="110">
                  <c:v>40702</c:v>
                </c:pt>
                <c:pt idx="111">
                  <c:v>40703</c:v>
                </c:pt>
                <c:pt idx="112">
                  <c:v>40704</c:v>
                </c:pt>
                <c:pt idx="113">
                  <c:v>40707</c:v>
                </c:pt>
                <c:pt idx="114">
                  <c:v>40708</c:v>
                </c:pt>
                <c:pt idx="115">
                  <c:v>40709</c:v>
                </c:pt>
                <c:pt idx="116">
                  <c:v>40710</c:v>
                </c:pt>
                <c:pt idx="117">
                  <c:v>40711</c:v>
                </c:pt>
                <c:pt idx="118">
                  <c:v>40714</c:v>
                </c:pt>
                <c:pt idx="119">
                  <c:v>40715</c:v>
                </c:pt>
                <c:pt idx="120">
                  <c:v>40716</c:v>
                </c:pt>
                <c:pt idx="121">
                  <c:v>40717</c:v>
                </c:pt>
                <c:pt idx="122">
                  <c:v>40718</c:v>
                </c:pt>
                <c:pt idx="123">
                  <c:v>40721</c:v>
                </c:pt>
                <c:pt idx="124">
                  <c:v>40722</c:v>
                </c:pt>
                <c:pt idx="125">
                  <c:v>40723</c:v>
                </c:pt>
                <c:pt idx="126">
                  <c:v>40724</c:v>
                </c:pt>
                <c:pt idx="127">
                  <c:v>40725</c:v>
                </c:pt>
                <c:pt idx="128">
                  <c:v>40728</c:v>
                </c:pt>
                <c:pt idx="129">
                  <c:v>40729</c:v>
                </c:pt>
                <c:pt idx="130">
                  <c:v>40730</c:v>
                </c:pt>
                <c:pt idx="131">
                  <c:v>40731</c:v>
                </c:pt>
                <c:pt idx="132">
                  <c:v>40732</c:v>
                </c:pt>
                <c:pt idx="133">
                  <c:v>40735</c:v>
                </c:pt>
                <c:pt idx="134">
                  <c:v>40736</c:v>
                </c:pt>
                <c:pt idx="135">
                  <c:v>40737</c:v>
                </c:pt>
                <c:pt idx="136">
                  <c:v>40738</c:v>
                </c:pt>
                <c:pt idx="137">
                  <c:v>40739</c:v>
                </c:pt>
                <c:pt idx="138">
                  <c:v>40742</c:v>
                </c:pt>
                <c:pt idx="139">
                  <c:v>40743</c:v>
                </c:pt>
                <c:pt idx="140">
                  <c:v>40744</c:v>
                </c:pt>
                <c:pt idx="141">
                  <c:v>40745</c:v>
                </c:pt>
                <c:pt idx="142">
                  <c:v>40746</c:v>
                </c:pt>
                <c:pt idx="143">
                  <c:v>40749</c:v>
                </c:pt>
                <c:pt idx="144">
                  <c:v>40750</c:v>
                </c:pt>
                <c:pt idx="145">
                  <c:v>40751</c:v>
                </c:pt>
                <c:pt idx="146">
                  <c:v>40752</c:v>
                </c:pt>
                <c:pt idx="147">
                  <c:v>40753</c:v>
                </c:pt>
                <c:pt idx="148">
                  <c:v>40756</c:v>
                </c:pt>
                <c:pt idx="149">
                  <c:v>40757</c:v>
                </c:pt>
                <c:pt idx="150">
                  <c:v>40758</c:v>
                </c:pt>
                <c:pt idx="151">
                  <c:v>40759</c:v>
                </c:pt>
                <c:pt idx="152">
                  <c:v>40760</c:v>
                </c:pt>
                <c:pt idx="153">
                  <c:v>40763</c:v>
                </c:pt>
                <c:pt idx="154">
                  <c:v>40764</c:v>
                </c:pt>
                <c:pt idx="155">
                  <c:v>40765</c:v>
                </c:pt>
                <c:pt idx="156">
                  <c:v>40766</c:v>
                </c:pt>
                <c:pt idx="157">
                  <c:v>40767</c:v>
                </c:pt>
                <c:pt idx="158">
                  <c:v>40770</c:v>
                </c:pt>
                <c:pt idx="159">
                  <c:v>40771</c:v>
                </c:pt>
                <c:pt idx="160">
                  <c:v>40772</c:v>
                </c:pt>
                <c:pt idx="161">
                  <c:v>40773</c:v>
                </c:pt>
                <c:pt idx="162">
                  <c:v>40774</c:v>
                </c:pt>
                <c:pt idx="163">
                  <c:v>40777</c:v>
                </c:pt>
                <c:pt idx="164">
                  <c:v>40778</c:v>
                </c:pt>
                <c:pt idx="165">
                  <c:v>40779</c:v>
                </c:pt>
                <c:pt idx="166">
                  <c:v>40780</c:v>
                </c:pt>
                <c:pt idx="167">
                  <c:v>40781</c:v>
                </c:pt>
                <c:pt idx="168">
                  <c:v>40784</c:v>
                </c:pt>
                <c:pt idx="169">
                  <c:v>40785</c:v>
                </c:pt>
                <c:pt idx="170">
                  <c:v>40786</c:v>
                </c:pt>
                <c:pt idx="171">
                  <c:v>40787</c:v>
                </c:pt>
                <c:pt idx="172">
                  <c:v>40788</c:v>
                </c:pt>
                <c:pt idx="173">
                  <c:v>40791</c:v>
                </c:pt>
                <c:pt idx="174">
                  <c:v>40792</c:v>
                </c:pt>
                <c:pt idx="175">
                  <c:v>40793</c:v>
                </c:pt>
                <c:pt idx="176">
                  <c:v>40794</c:v>
                </c:pt>
                <c:pt idx="177">
                  <c:v>40795</c:v>
                </c:pt>
                <c:pt idx="178">
                  <c:v>40798</c:v>
                </c:pt>
                <c:pt idx="179">
                  <c:v>40799</c:v>
                </c:pt>
                <c:pt idx="180">
                  <c:v>40800</c:v>
                </c:pt>
                <c:pt idx="181">
                  <c:v>40801</c:v>
                </c:pt>
                <c:pt idx="182">
                  <c:v>40802</c:v>
                </c:pt>
                <c:pt idx="183">
                  <c:v>40805</c:v>
                </c:pt>
                <c:pt idx="184">
                  <c:v>40806</c:v>
                </c:pt>
                <c:pt idx="185">
                  <c:v>40807</c:v>
                </c:pt>
                <c:pt idx="186">
                  <c:v>40808</c:v>
                </c:pt>
                <c:pt idx="187">
                  <c:v>40809</c:v>
                </c:pt>
                <c:pt idx="188">
                  <c:v>40812</c:v>
                </c:pt>
                <c:pt idx="189">
                  <c:v>40813</c:v>
                </c:pt>
                <c:pt idx="190">
                  <c:v>40814</c:v>
                </c:pt>
                <c:pt idx="191">
                  <c:v>40815</c:v>
                </c:pt>
                <c:pt idx="192">
                  <c:v>40816</c:v>
                </c:pt>
                <c:pt idx="193">
                  <c:v>40819</c:v>
                </c:pt>
                <c:pt idx="194">
                  <c:v>40820</c:v>
                </c:pt>
                <c:pt idx="195">
                  <c:v>40821</c:v>
                </c:pt>
                <c:pt idx="196">
                  <c:v>40822</c:v>
                </c:pt>
                <c:pt idx="197">
                  <c:v>40823</c:v>
                </c:pt>
                <c:pt idx="198">
                  <c:v>40826</c:v>
                </c:pt>
                <c:pt idx="199">
                  <c:v>40827</c:v>
                </c:pt>
                <c:pt idx="200">
                  <c:v>40828</c:v>
                </c:pt>
                <c:pt idx="201">
                  <c:v>40829</c:v>
                </c:pt>
                <c:pt idx="202">
                  <c:v>40830</c:v>
                </c:pt>
                <c:pt idx="203">
                  <c:v>40833</c:v>
                </c:pt>
                <c:pt idx="204">
                  <c:v>40834</c:v>
                </c:pt>
                <c:pt idx="205">
                  <c:v>40835</c:v>
                </c:pt>
                <c:pt idx="206">
                  <c:v>40836</c:v>
                </c:pt>
                <c:pt idx="207">
                  <c:v>40837</c:v>
                </c:pt>
                <c:pt idx="208">
                  <c:v>40840</c:v>
                </c:pt>
                <c:pt idx="209">
                  <c:v>40841</c:v>
                </c:pt>
                <c:pt idx="210">
                  <c:v>40842</c:v>
                </c:pt>
                <c:pt idx="211">
                  <c:v>40843</c:v>
                </c:pt>
                <c:pt idx="212">
                  <c:v>40844</c:v>
                </c:pt>
                <c:pt idx="213">
                  <c:v>40847</c:v>
                </c:pt>
                <c:pt idx="214">
                  <c:v>40848</c:v>
                </c:pt>
                <c:pt idx="215">
                  <c:v>40849</c:v>
                </c:pt>
                <c:pt idx="216">
                  <c:v>40850</c:v>
                </c:pt>
                <c:pt idx="217">
                  <c:v>40851</c:v>
                </c:pt>
                <c:pt idx="218">
                  <c:v>40854</c:v>
                </c:pt>
                <c:pt idx="219">
                  <c:v>40855</c:v>
                </c:pt>
                <c:pt idx="220">
                  <c:v>40856</c:v>
                </c:pt>
                <c:pt idx="221">
                  <c:v>40857</c:v>
                </c:pt>
                <c:pt idx="222">
                  <c:v>40858</c:v>
                </c:pt>
                <c:pt idx="223">
                  <c:v>40861</c:v>
                </c:pt>
                <c:pt idx="224">
                  <c:v>40862</c:v>
                </c:pt>
                <c:pt idx="225">
                  <c:v>40863</c:v>
                </c:pt>
                <c:pt idx="226">
                  <c:v>40864</c:v>
                </c:pt>
                <c:pt idx="227">
                  <c:v>40865</c:v>
                </c:pt>
                <c:pt idx="228">
                  <c:v>40868</c:v>
                </c:pt>
                <c:pt idx="229">
                  <c:v>40869</c:v>
                </c:pt>
                <c:pt idx="230">
                  <c:v>40870</c:v>
                </c:pt>
                <c:pt idx="231">
                  <c:v>40871</c:v>
                </c:pt>
                <c:pt idx="232">
                  <c:v>40872</c:v>
                </c:pt>
                <c:pt idx="233">
                  <c:v>40875</c:v>
                </c:pt>
                <c:pt idx="234">
                  <c:v>40876</c:v>
                </c:pt>
                <c:pt idx="235">
                  <c:v>40877</c:v>
                </c:pt>
                <c:pt idx="236">
                  <c:v>40878</c:v>
                </c:pt>
                <c:pt idx="237">
                  <c:v>40879</c:v>
                </c:pt>
                <c:pt idx="238">
                  <c:v>40882</c:v>
                </c:pt>
                <c:pt idx="239">
                  <c:v>40883</c:v>
                </c:pt>
                <c:pt idx="240">
                  <c:v>40884</c:v>
                </c:pt>
                <c:pt idx="241">
                  <c:v>40885</c:v>
                </c:pt>
                <c:pt idx="242">
                  <c:v>40886</c:v>
                </c:pt>
                <c:pt idx="243">
                  <c:v>40889</c:v>
                </c:pt>
                <c:pt idx="244">
                  <c:v>40890</c:v>
                </c:pt>
                <c:pt idx="245">
                  <c:v>40891</c:v>
                </c:pt>
                <c:pt idx="246">
                  <c:v>40892</c:v>
                </c:pt>
                <c:pt idx="247">
                  <c:v>40893</c:v>
                </c:pt>
                <c:pt idx="248">
                  <c:v>40896</c:v>
                </c:pt>
                <c:pt idx="249">
                  <c:v>40897</c:v>
                </c:pt>
                <c:pt idx="250">
                  <c:v>40898</c:v>
                </c:pt>
                <c:pt idx="251">
                  <c:v>40899</c:v>
                </c:pt>
                <c:pt idx="252">
                  <c:v>40900</c:v>
                </c:pt>
                <c:pt idx="253">
                  <c:v>40903</c:v>
                </c:pt>
                <c:pt idx="254">
                  <c:v>40904</c:v>
                </c:pt>
                <c:pt idx="255">
                  <c:v>40905</c:v>
                </c:pt>
                <c:pt idx="256">
                  <c:v>40906</c:v>
                </c:pt>
                <c:pt idx="257">
                  <c:v>40907</c:v>
                </c:pt>
                <c:pt idx="258">
                  <c:v>40910</c:v>
                </c:pt>
                <c:pt idx="259">
                  <c:v>40911</c:v>
                </c:pt>
                <c:pt idx="260">
                  <c:v>40912</c:v>
                </c:pt>
                <c:pt idx="261">
                  <c:v>40913</c:v>
                </c:pt>
                <c:pt idx="262">
                  <c:v>40914</c:v>
                </c:pt>
                <c:pt idx="263">
                  <c:v>40917</c:v>
                </c:pt>
                <c:pt idx="264">
                  <c:v>40918</c:v>
                </c:pt>
                <c:pt idx="265">
                  <c:v>40919</c:v>
                </c:pt>
                <c:pt idx="266">
                  <c:v>40920</c:v>
                </c:pt>
                <c:pt idx="267">
                  <c:v>40921</c:v>
                </c:pt>
                <c:pt idx="268">
                  <c:v>40924</c:v>
                </c:pt>
                <c:pt idx="269">
                  <c:v>40925</c:v>
                </c:pt>
                <c:pt idx="270">
                  <c:v>40926</c:v>
                </c:pt>
                <c:pt idx="271">
                  <c:v>40927</c:v>
                </c:pt>
                <c:pt idx="272">
                  <c:v>40928</c:v>
                </c:pt>
                <c:pt idx="273">
                  <c:v>40931</c:v>
                </c:pt>
                <c:pt idx="274">
                  <c:v>40932</c:v>
                </c:pt>
                <c:pt idx="275">
                  <c:v>40933</c:v>
                </c:pt>
                <c:pt idx="276">
                  <c:v>40934</c:v>
                </c:pt>
                <c:pt idx="277">
                  <c:v>40935</c:v>
                </c:pt>
                <c:pt idx="278">
                  <c:v>40938</c:v>
                </c:pt>
                <c:pt idx="279">
                  <c:v>40939</c:v>
                </c:pt>
                <c:pt idx="280">
                  <c:v>40940</c:v>
                </c:pt>
                <c:pt idx="281">
                  <c:v>40941</c:v>
                </c:pt>
                <c:pt idx="282">
                  <c:v>40942</c:v>
                </c:pt>
                <c:pt idx="283">
                  <c:v>40945</c:v>
                </c:pt>
                <c:pt idx="284">
                  <c:v>40946</c:v>
                </c:pt>
                <c:pt idx="285">
                  <c:v>40947</c:v>
                </c:pt>
                <c:pt idx="286">
                  <c:v>40948</c:v>
                </c:pt>
                <c:pt idx="287">
                  <c:v>40949</c:v>
                </c:pt>
                <c:pt idx="288">
                  <c:v>40952</c:v>
                </c:pt>
                <c:pt idx="289">
                  <c:v>40953</c:v>
                </c:pt>
                <c:pt idx="290">
                  <c:v>40954</c:v>
                </c:pt>
                <c:pt idx="291">
                  <c:v>40955</c:v>
                </c:pt>
                <c:pt idx="292">
                  <c:v>40956</c:v>
                </c:pt>
                <c:pt idx="293">
                  <c:v>40959</c:v>
                </c:pt>
                <c:pt idx="294">
                  <c:v>40960</c:v>
                </c:pt>
                <c:pt idx="295">
                  <c:v>40961</c:v>
                </c:pt>
                <c:pt idx="296">
                  <c:v>40962</c:v>
                </c:pt>
                <c:pt idx="297">
                  <c:v>40963</c:v>
                </c:pt>
                <c:pt idx="298">
                  <c:v>40966</c:v>
                </c:pt>
                <c:pt idx="299">
                  <c:v>40967</c:v>
                </c:pt>
                <c:pt idx="300">
                  <c:v>40968</c:v>
                </c:pt>
                <c:pt idx="301">
                  <c:v>40969</c:v>
                </c:pt>
                <c:pt idx="302">
                  <c:v>40970</c:v>
                </c:pt>
                <c:pt idx="303">
                  <c:v>40973</c:v>
                </c:pt>
                <c:pt idx="304">
                  <c:v>40974</c:v>
                </c:pt>
                <c:pt idx="305">
                  <c:v>40975</c:v>
                </c:pt>
                <c:pt idx="306">
                  <c:v>40976</c:v>
                </c:pt>
                <c:pt idx="307">
                  <c:v>40977</c:v>
                </c:pt>
                <c:pt idx="308">
                  <c:v>40980</c:v>
                </c:pt>
                <c:pt idx="309">
                  <c:v>40981</c:v>
                </c:pt>
                <c:pt idx="310">
                  <c:v>40982</c:v>
                </c:pt>
                <c:pt idx="311">
                  <c:v>40983</c:v>
                </c:pt>
                <c:pt idx="312">
                  <c:v>40984</c:v>
                </c:pt>
                <c:pt idx="313">
                  <c:v>40987</c:v>
                </c:pt>
                <c:pt idx="314">
                  <c:v>40988</c:v>
                </c:pt>
                <c:pt idx="315">
                  <c:v>40989</c:v>
                </c:pt>
                <c:pt idx="316">
                  <c:v>40990</c:v>
                </c:pt>
                <c:pt idx="317">
                  <c:v>40991</c:v>
                </c:pt>
                <c:pt idx="318">
                  <c:v>40994</c:v>
                </c:pt>
                <c:pt idx="319">
                  <c:v>40995</c:v>
                </c:pt>
                <c:pt idx="320">
                  <c:v>40996</c:v>
                </c:pt>
                <c:pt idx="321">
                  <c:v>40997</c:v>
                </c:pt>
                <c:pt idx="322">
                  <c:v>40998</c:v>
                </c:pt>
                <c:pt idx="323">
                  <c:v>41001</c:v>
                </c:pt>
                <c:pt idx="324">
                  <c:v>41002</c:v>
                </c:pt>
                <c:pt idx="325">
                  <c:v>41003</c:v>
                </c:pt>
                <c:pt idx="326">
                  <c:v>41004</c:v>
                </c:pt>
                <c:pt idx="327">
                  <c:v>41008</c:v>
                </c:pt>
                <c:pt idx="328">
                  <c:v>41009</c:v>
                </c:pt>
                <c:pt idx="329">
                  <c:v>41010</c:v>
                </c:pt>
                <c:pt idx="330">
                  <c:v>41011</c:v>
                </c:pt>
                <c:pt idx="331">
                  <c:v>41012</c:v>
                </c:pt>
                <c:pt idx="332">
                  <c:v>41015</c:v>
                </c:pt>
                <c:pt idx="333">
                  <c:v>41016</c:v>
                </c:pt>
                <c:pt idx="334">
                  <c:v>41017</c:v>
                </c:pt>
                <c:pt idx="335">
                  <c:v>41018</c:v>
                </c:pt>
                <c:pt idx="336">
                  <c:v>41019</c:v>
                </c:pt>
                <c:pt idx="337">
                  <c:v>41022</c:v>
                </c:pt>
                <c:pt idx="338">
                  <c:v>41023</c:v>
                </c:pt>
                <c:pt idx="339">
                  <c:v>41024</c:v>
                </c:pt>
                <c:pt idx="340">
                  <c:v>41025</c:v>
                </c:pt>
                <c:pt idx="341">
                  <c:v>41026</c:v>
                </c:pt>
                <c:pt idx="342">
                  <c:v>41029</c:v>
                </c:pt>
                <c:pt idx="343">
                  <c:v>41030</c:v>
                </c:pt>
                <c:pt idx="344">
                  <c:v>41031</c:v>
                </c:pt>
                <c:pt idx="345">
                  <c:v>41032</c:v>
                </c:pt>
                <c:pt idx="346">
                  <c:v>41033</c:v>
                </c:pt>
                <c:pt idx="347">
                  <c:v>41036</c:v>
                </c:pt>
                <c:pt idx="348">
                  <c:v>41037</c:v>
                </c:pt>
                <c:pt idx="349">
                  <c:v>41038</c:v>
                </c:pt>
                <c:pt idx="350">
                  <c:v>41039</c:v>
                </c:pt>
                <c:pt idx="351">
                  <c:v>41040</c:v>
                </c:pt>
                <c:pt idx="352">
                  <c:v>41043</c:v>
                </c:pt>
                <c:pt idx="353">
                  <c:v>41044</c:v>
                </c:pt>
                <c:pt idx="354">
                  <c:v>41045</c:v>
                </c:pt>
                <c:pt idx="355">
                  <c:v>41046</c:v>
                </c:pt>
                <c:pt idx="356">
                  <c:v>41047</c:v>
                </c:pt>
                <c:pt idx="357">
                  <c:v>41050</c:v>
                </c:pt>
                <c:pt idx="358">
                  <c:v>41051</c:v>
                </c:pt>
                <c:pt idx="359">
                  <c:v>41052</c:v>
                </c:pt>
                <c:pt idx="360">
                  <c:v>41053</c:v>
                </c:pt>
                <c:pt idx="361">
                  <c:v>41054</c:v>
                </c:pt>
                <c:pt idx="362">
                  <c:v>41057</c:v>
                </c:pt>
                <c:pt idx="363">
                  <c:v>41058</c:v>
                </c:pt>
                <c:pt idx="364">
                  <c:v>41059</c:v>
                </c:pt>
                <c:pt idx="365">
                  <c:v>41060</c:v>
                </c:pt>
                <c:pt idx="366">
                  <c:v>41061</c:v>
                </c:pt>
                <c:pt idx="367">
                  <c:v>41064</c:v>
                </c:pt>
                <c:pt idx="368">
                  <c:v>41065</c:v>
                </c:pt>
                <c:pt idx="369">
                  <c:v>41066</c:v>
                </c:pt>
                <c:pt idx="370">
                  <c:v>41067</c:v>
                </c:pt>
                <c:pt idx="371">
                  <c:v>41068</c:v>
                </c:pt>
                <c:pt idx="372">
                  <c:v>41071</c:v>
                </c:pt>
                <c:pt idx="373">
                  <c:v>41072</c:v>
                </c:pt>
                <c:pt idx="374">
                  <c:v>41073</c:v>
                </c:pt>
                <c:pt idx="375">
                  <c:v>41074</c:v>
                </c:pt>
                <c:pt idx="376">
                  <c:v>41075</c:v>
                </c:pt>
                <c:pt idx="377">
                  <c:v>41078</c:v>
                </c:pt>
                <c:pt idx="378">
                  <c:v>41079</c:v>
                </c:pt>
                <c:pt idx="379">
                  <c:v>41080</c:v>
                </c:pt>
                <c:pt idx="380">
                  <c:v>41081</c:v>
                </c:pt>
                <c:pt idx="381">
                  <c:v>41082</c:v>
                </c:pt>
                <c:pt idx="382">
                  <c:v>41085</c:v>
                </c:pt>
                <c:pt idx="383">
                  <c:v>41086</c:v>
                </c:pt>
                <c:pt idx="384">
                  <c:v>41087</c:v>
                </c:pt>
                <c:pt idx="385">
                  <c:v>41088</c:v>
                </c:pt>
                <c:pt idx="386">
                  <c:v>41089</c:v>
                </c:pt>
                <c:pt idx="387">
                  <c:v>41092</c:v>
                </c:pt>
                <c:pt idx="388">
                  <c:v>41093</c:v>
                </c:pt>
                <c:pt idx="389">
                  <c:v>41094</c:v>
                </c:pt>
                <c:pt idx="390">
                  <c:v>41095</c:v>
                </c:pt>
                <c:pt idx="391">
                  <c:v>41096</c:v>
                </c:pt>
                <c:pt idx="392">
                  <c:v>41099</c:v>
                </c:pt>
                <c:pt idx="393">
                  <c:v>41100</c:v>
                </c:pt>
                <c:pt idx="394">
                  <c:v>41101</c:v>
                </c:pt>
                <c:pt idx="395">
                  <c:v>41102</c:v>
                </c:pt>
                <c:pt idx="396">
                  <c:v>41103</c:v>
                </c:pt>
                <c:pt idx="397">
                  <c:v>41106</c:v>
                </c:pt>
                <c:pt idx="398">
                  <c:v>41107</c:v>
                </c:pt>
                <c:pt idx="399">
                  <c:v>41108</c:v>
                </c:pt>
                <c:pt idx="400">
                  <c:v>41109</c:v>
                </c:pt>
                <c:pt idx="401">
                  <c:v>41110</c:v>
                </c:pt>
                <c:pt idx="402">
                  <c:v>41113</c:v>
                </c:pt>
                <c:pt idx="403">
                  <c:v>41114</c:v>
                </c:pt>
                <c:pt idx="404">
                  <c:v>41115</c:v>
                </c:pt>
                <c:pt idx="405">
                  <c:v>41116</c:v>
                </c:pt>
                <c:pt idx="406">
                  <c:v>41117</c:v>
                </c:pt>
                <c:pt idx="407">
                  <c:v>41120</c:v>
                </c:pt>
                <c:pt idx="408">
                  <c:v>41121</c:v>
                </c:pt>
                <c:pt idx="409">
                  <c:v>41122</c:v>
                </c:pt>
                <c:pt idx="410">
                  <c:v>41123</c:v>
                </c:pt>
                <c:pt idx="411">
                  <c:v>41124</c:v>
                </c:pt>
                <c:pt idx="412">
                  <c:v>41127</c:v>
                </c:pt>
                <c:pt idx="413">
                  <c:v>41128</c:v>
                </c:pt>
                <c:pt idx="414">
                  <c:v>41129</c:v>
                </c:pt>
                <c:pt idx="415">
                  <c:v>41130</c:v>
                </c:pt>
                <c:pt idx="416">
                  <c:v>41131</c:v>
                </c:pt>
                <c:pt idx="417">
                  <c:v>41134</c:v>
                </c:pt>
                <c:pt idx="418">
                  <c:v>41135</c:v>
                </c:pt>
                <c:pt idx="419">
                  <c:v>41136</c:v>
                </c:pt>
                <c:pt idx="420">
                  <c:v>41137</c:v>
                </c:pt>
                <c:pt idx="421">
                  <c:v>41138</c:v>
                </c:pt>
                <c:pt idx="422">
                  <c:v>41141</c:v>
                </c:pt>
                <c:pt idx="423">
                  <c:v>41142</c:v>
                </c:pt>
                <c:pt idx="424">
                  <c:v>41143</c:v>
                </c:pt>
                <c:pt idx="425">
                  <c:v>41144</c:v>
                </c:pt>
                <c:pt idx="426">
                  <c:v>41145</c:v>
                </c:pt>
                <c:pt idx="427">
                  <c:v>41148</c:v>
                </c:pt>
                <c:pt idx="428">
                  <c:v>41149</c:v>
                </c:pt>
                <c:pt idx="429">
                  <c:v>41150</c:v>
                </c:pt>
                <c:pt idx="430">
                  <c:v>41151</c:v>
                </c:pt>
                <c:pt idx="431">
                  <c:v>41152</c:v>
                </c:pt>
                <c:pt idx="432">
                  <c:v>41155</c:v>
                </c:pt>
                <c:pt idx="433">
                  <c:v>41156</c:v>
                </c:pt>
                <c:pt idx="434">
                  <c:v>41157</c:v>
                </c:pt>
                <c:pt idx="435">
                  <c:v>41158</c:v>
                </c:pt>
                <c:pt idx="436">
                  <c:v>41159</c:v>
                </c:pt>
                <c:pt idx="437">
                  <c:v>41162</c:v>
                </c:pt>
                <c:pt idx="438">
                  <c:v>41163</c:v>
                </c:pt>
                <c:pt idx="439">
                  <c:v>41164</c:v>
                </c:pt>
                <c:pt idx="440">
                  <c:v>41165</c:v>
                </c:pt>
                <c:pt idx="441">
                  <c:v>41166</c:v>
                </c:pt>
                <c:pt idx="442">
                  <c:v>41169</c:v>
                </c:pt>
                <c:pt idx="443">
                  <c:v>41170</c:v>
                </c:pt>
                <c:pt idx="444">
                  <c:v>41171</c:v>
                </c:pt>
                <c:pt idx="445">
                  <c:v>41172</c:v>
                </c:pt>
                <c:pt idx="446">
                  <c:v>41173</c:v>
                </c:pt>
                <c:pt idx="447">
                  <c:v>41176</c:v>
                </c:pt>
                <c:pt idx="448">
                  <c:v>41177</c:v>
                </c:pt>
                <c:pt idx="449">
                  <c:v>41178</c:v>
                </c:pt>
                <c:pt idx="450">
                  <c:v>41179</c:v>
                </c:pt>
                <c:pt idx="451">
                  <c:v>41180</c:v>
                </c:pt>
                <c:pt idx="452">
                  <c:v>41183</c:v>
                </c:pt>
                <c:pt idx="453">
                  <c:v>41184</c:v>
                </c:pt>
                <c:pt idx="454">
                  <c:v>41185</c:v>
                </c:pt>
                <c:pt idx="455">
                  <c:v>41186</c:v>
                </c:pt>
                <c:pt idx="456">
                  <c:v>41187</c:v>
                </c:pt>
                <c:pt idx="457">
                  <c:v>41190</c:v>
                </c:pt>
                <c:pt idx="458">
                  <c:v>41191</c:v>
                </c:pt>
                <c:pt idx="459">
                  <c:v>41192</c:v>
                </c:pt>
                <c:pt idx="460">
                  <c:v>41193</c:v>
                </c:pt>
                <c:pt idx="461">
                  <c:v>41194</c:v>
                </c:pt>
                <c:pt idx="462">
                  <c:v>41197</c:v>
                </c:pt>
                <c:pt idx="463">
                  <c:v>41198</c:v>
                </c:pt>
                <c:pt idx="464">
                  <c:v>41199</c:v>
                </c:pt>
                <c:pt idx="465">
                  <c:v>41200</c:v>
                </c:pt>
                <c:pt idx="466">
                  <c:v>41201</c:v>
                </c:pt>
                <c:pt idx="467">
                  <c:v>41204</c:v>
                </c:pt>
                <c:pt idx="468">
                  <c:v>41205</c:v>
                </c:pt>
                <c:pt idx="469">
                  <c:v>41206</c:v>
                </c:pt>
                <c:pt idx="470">
                  <c:v>41207</c:v>
                </c:pt>
                <c:pt idx="471">
                  <c:v>41208</c:v>
                </c:pt>
                <c:pt idx="472">
                  <c:v>41211</c:v>
                </c:pt>
                <c:pt idx="473">
                  <c:v>41212</c:v>
                </c:pt>
                <c:pt idx="474">
                  <c:v>41213</c:v>
                </c:pt>
                <c:pt idx="475">
                  <c:v>41214</c:v>
                </c:pt>
                <c:pt idx="476">
                  <c:v>41215</c:v>
                </c:pt>
                <c:pt idx="477">
                  <c:v>41218</c:v>
                </c:pt>
                <c:pt idx="478">
                  <c:v>41219</c:v>
                </c:pt>
                <c:pt idx="479">
                  <c:v>41220</c:v>
                </c:pt>
                <c:pt idx="480">
                  <c:v>41221</c:v>
                </c:pt>
                <c:pt idx="481">
                  <c:v>41222</c:v>
                </c:pt>
                <c:pt idx="482">
                  <c:v>41225</c:v>
                </c:pt>
                <c:pt idx="483">
                  <c:v>41226</c:v>
                </c:pt>
                <c:pt idx="484">
                  <c:v>41227</c:v>
                </c:pt>
                <c:pt idx="485">
                  <c:v>41228</c:v>
                </c:pt>
                <c:pt idx="486">
                  <c:v>41229</c:v>
                </c:pt>
                <c:pt idx="487">
                  <c:v>41232</c:v>
                </c:pt>
                <c:pt idx="488">
                  <c:v>41233</c:v>
                </c:pt>
                <c:pt idx="489">
                  <c:v>41234</c:v>
                </c:pt>
                <c:pt idx="490">
                  <c:v>41235</c:v>
                </c:pt>
                <c:pt idx="491">
                  <c:v>41236</c:v>
                </c:pt>
                <c:pt idx="492">
                  <c:v>41239</c:v>
                </c:pt>
                <c:pt idx="493">
                  <c:v>41240</c:v>
                </c:pt>
                <c:pt idx="494">
                  <c:v>41241</c:v>
                </c:pt>
                <c:pt idx="495">
                  <c:v>41242</c:v>
                </c:pt>
                <c:pt idx="496">
                  <c:v>41243</c:v>
                </c:pt>
                <c:pt idx="497">
                  <c:v>41246</c:v>
                </c:pt>
                <c:pt idx="498">
                  <c:v>41247</c:v>
                </c:pt>
                <c:pt idx="499">
                  <c:v>41248</c:v>
                </c:pt>
                <c:pt idx="500">
                  <c:v>41249</c:v>
                </c:pt>
                <c:pt idx="501">
                  <c:v>41250</c:v>
                </c:pt>
                <c:pt idx="502">
                  <c:v>41253</c:v>
                </c:pt>
                <c:pt idx="503">
                  <c:v>41254</c:v>
                </c:pt>
                <c:pt idx="504">
                  <c:v>41255</c:v>
                </c:pt>
                <c:pt idx="505">
                  <c:v>41256</c:v>
                </c:pt>
                <c:pt idx="506">
                  <c:v>41257</c:v>
                </c:pt>
                <c:pt idx="507">
                  <c:v>41260</c:v>
                </c:pt>
                <c:pt idx="508">
                  <c:v>41261</c:v>
                </c:pt>
                <c:pt idx="509">
                  <c:v>41262</c:v>
                </c:pt>
                <c:pt idx="510">
                  <c:v>41263</c:v>
                </c:pt>
                <c:pt idx="511">
                  <c:v>41264</c:v>
                </c:pt>
                <c:pt idx="512">
                  <c:v>41267</c:v>
                </c:pt>
                <c:pt idx="513">
                  <c:v>41268</c:v>
                </c:pt>
                <c:pt idx="514">
                  <c:v>41269</c:v>
                </c:pt>
                <c:pt idx="515">
                  <c:v>41270</c:v>
                </c:pt>
                <c:pt idx="516">
                  <c:v>41271</c:v>
                </c:pt>
                <c:pt idx="517">
                  <c:v>41274</c:v>
                </c:pt>
                <c:pt idx="518">
                  <c:v>41276</c:v>
                </c:pt>
                <c:pt idx="519">
                  <c:v>41277</c:v>
                </c:pt>
                <c:pt idx="520">
                  <c:v>41278</c:v>
                </c:pt>
                <c:pt idx="521">
                  <c:v>41281</c:v>
                </c:pt>
                <c:pt idx="522">
                  <c:v>41282</c:v>
                </c:pt>
                <c:pt idx="523">
                  <c:v>41283</c:v>
                </c:pt>
                <c:pt idx="524">
                  <c:v>41284</c:v>
                </c:pt>
                <c:pt idx="525">
                  <c:v>41285</c:v>
                </c:pt>
                <c:pt idx="526">
                  <c:v>41288</c:v>
                </c:pt>
                <c:pt idx="527">
                  <c:v>41289</c:v>
                </c:pt>
                <c:pt idx="528">
                  <c:v>41290</c:v>
                </c:pt>
                <c:pt idx="529">
                  <c:v>41291</c:v>
                </c:pt>
                <c:pt idx="530">
                  <c:v>41292</c:v>
                </c:pt>
                <c:pt idx="531">
                  <c:v>41295</c:v>
                </c:pt>
                <c:pt idx="532">
                  <c:v>41296</c:v>
                </c:pt>
                <c:pt idx="533">
                  <c:v>41297</c:v>
                </c:pt>
                <c:pt idx="534">
                  <c:v>41298</c:v>
                </c:pt>
                <c:pt idx="535">
                  <c:v>41299</c:v>
                </c:pt>
                <c:pt idx="536">
                  <c:v>41302</c:v>
                </c:pt>
                <c:pt idx="537">
                  <c:v>41303</c:v>
                </c:pt>
                <c:pt idx="538">
                  <c:v>41304</c:v>
                </c:pt>
                <c:pt idx="539">
                  <c:v>41305</c:v>
                </c:pt>
                <c:pt idx="540">
                  <c:v>41306</c:v>
                </c:pt>
                <c:pt idx="541">
                  <c:v>41309</c:v>
                </c:pt>
                <c:pt idx="542">
                  <c:v>41310</c:v>
                </c:pt>
                <c:pt idx="543">
                  <c:v>41311</c:v>
                </c:pt>
                <c:pt idx="544">
                  <c:v>41312</c:v>
                </c:pt>
                <c:pt idx="545">
                  <c:v>41313</c:v>
                </c:pt>
                <c:pt idx="546">
                  <c:v>41316</c:v>
                </c:pt>
                <c:pt idx="547">
                  <c:v>41317</c:v>
                </c:pt>
                <c:pt idx="548">
                  <c:v>41318</c:v>
                </c:pt>
                <c:pt idx="549">
                  <c:v>41319</c:v>
                </c:pt>
                <c:pt idx="550">
                  <c:v>41320</c:v>
                </c:pt>
                <c:pt idx="551">
                  <c:v>41323</c:v>
                </c:pt>
                <c:pt idx="552">
                  <c:v>41324</c:v>
                </c:pt>
                <c:pt idx="553">
                  <c:v>41325</c:v>
                </c:pt>
                <c:pt idx="554">
                  <c:v>41326</c:v>
                </c:pt>
                <c:pt idx="555">
                  <c:v>41327</c:v>
                </c:pt>
                <c:pt idx="556">
                  <c:v>41330</c:v>
                </c:pt>
                <c:pt idx="557">
                  <c:v>41331</c:v>
                </c:pt>
                <c:pt idx="558">
                  <c:v>41332</c:v>
                </c:pt>
                <c:pt idx="559">
                  <c:v>41333</c:v>
                </c:pt>
                <c:pt idx="560">
                  <c:v>41334</c:v>
                </c:pt>
                <c:pt idx="561">
                  <c:v>41337</c:v>
                </c:pt>
                <c:pt idx="562">
                  <c:v>41338</c:v>
                </c:pt>
                <c:pt idx="563">
                  <c:v>41339</c:v>
                </c:pt>
                <c:pt idx="564">
                  <c:v>41340</c:v>
                </c:pt>
                <c:pt idx="565">
                  <c:v>41341</c:v>
                </c:pt>
                <c:pt idx="566">
                  <c:v>41344</c:v>
                </c:pt>
                <c:pt idx="567">
                  <c:v>41345</c:v>
                </c:pt>
                <c:pt idx="568">
                  <c:v>41346</c:v>
                </c:pt>
                <c:pt idx="569">
                  <c:v>41347</c:v>
                </c:pt>
                <c:pt idx="570">
                  <c:v>41348</c:v>
                </c:pt>
                <c:pt idx="571">
                  <c:v>41351</c:v>
                </c:pt>
                <c:pt idx="572">
                  <c:v>41352</c:v>
                </c:pt>
                <c:pt idx="573">
                  <c:v>41353</c:v>
                </c:pt>
                <c:pt idx="574">
                  <c:v>41354</c:v>
                </c:pt>
                <c:pt idx="575">
                  <c:v>41355</c:v>
                </c:pt>
                <c:pt idx="576">
                  <c:v>41358</c:v>
                </c:pt>
                <c:pt idx="577">
                  <c:v>41359</c:v>
                </c:pt>
                <c:pt idx="578">
                  <c:v>41360</c:v>
                </c:pt>
                <c:pt idx="579">
                  <c:v>41361</c:v>
                </c:pt>
                <c:pt idx="580">
                  <c:v>41366</c:v>
                </c:pt>
                <c:pt idx="581">
                  <c:v>41367</c:v>
                </c:pt>
                <c:pt idx="582">
                  <c:v>41368</c:v>
                </c:pt>
                <c:pt idx="583">
                  <c:v>41369</c:v>
                </c:pt>
                <c:pt idx="584">
                  <c:v>41372</c:v>
                </c:pt>
                <c:pt idx="585">
                  <c:v>41373</c:v>
                </c:pt>
                <c:pt idx="586">
                  <c:v>41374</c:v>
                </c:pt>
                <c:pt idx="587">
                  <c:v>41375</c:v>
                </c:pt>
                <c:pt idx="588">
                  <c:v>41376</c:v>
                </c:pt>
                <c:pt idx="589">
                  <c:v>41379</c:v>
                </c:pt>
                <c:pt idx="590">
                  <c:v>41380</c:v>
                </c:pt>
                <c:pt idx="591">
                  <c:v>41381</c:v>
                </c:pt>
                <c:pt idx="592">
                  <c:v>41382</c:v>
                </c:pt>
                <c:pt idx="593">
                  <c:v>41383</c:v>
                </c:pt>
                <c:pt idx="594">
                  <c:v>41386</c:v>
                </c:pt>
                <c:pt idx="595">
                  <c:v>41387</c:v>
                </c:pt>
                <c:pt idx="596">
                  <c:v>41388</c:v>
                </c:pt>
                <c:pt idx="597">
                  <c:v>41389</c:v>
                </c:pt>
                <c:pt idx="598">
                  <c:v>41390</c:v>
                </c:pt>
                <c:pt idx="599">
                  <c:v>41393</c:v>
                </c:pt>
                <c:pt idx="600">
                  <c:v>41394</c:v>
                </c:pt>
                <c:pt idx="601">
                  <c:v>41395</c:v>
                </c:pt>
                <c:pt idx="602">
                  <c:v>41396</c:v>
                </c:pt>
                <c:pt idx="603">
                  <c:v>41397</c:v>
                </c:pt>
                <c:pt idx="604">
                  <c:v>41400</c:v>
                </c:pt>
                <c:pt idx="605">
                  <c:v>41401</c:v>
                </c:pt>
                <c:pt idx="606">
                  <c:v>41402</c:v>
                </c:pt>
                <c:pt idx="607">
                  <c:v>41403</c:v>
                </c:pt>
                <c:pt idx="608">
                  <c:v>41404</c:v>
                </c:pt>
                <c:pt idx="609">
                  <c:v>41407</c:v>
                </c:pt>
                <c:pt idx="610">
                  <c:v>41408</c:v>
                </c:pt>
                <c:pt idx="611">
                  <c:v>41409</c:v>
                </c:pt>
                <c:pt idx="612">
                  <c:v>41410</c:v>
                </c:pt>
                <c:pt idx="613">
                  <c:v>41411</c:v>
                </c:pt>
                <c:pt idx="614">
                  <c:v>41414</c:v>
                </c:pt>
                <c:pt idx="615">
                  <c:v>41415</c:v>
                </c:pt>
                <c:pt idx="616">
                  <c:v>41416</c:v>
                </c:pt>
                <c:pt idx="617">
                  <c:v>41417</c:v>
                </c:pt>
                <c:pt idx="618">
                  <c:v>41418</c:v>
                </c:pt>
                <c:pt idx="619">
                  <c:v>41421</c:v>
                </c:pt>
                <c:pt idx="620">
                  <c:v>41422</c:v>
                </c:pt>
                <c:pt idx="621">
                  <c:v>41423</c:v>
                </c:pt>
                <c:pt idx="622">
                  <c:v>41424</c:v>
                </c:pt>
                <c:pt idx="623">
                  <c:v>41425</c:v>
                </c:pt>
                <c:pt idx="624">
                  <c:v>41428</c:v>
                </c:pt>
                <c:pt idx="625">
                  <c:v>41429</c:v>
                </c:pt>
                <c:pt idx="626">
                  <c:v>41430</c:v>
                </c:pt>
                <c:pt idx="627">
                  <c:v>41431</c:v>
                </c:pt>
                <c:pt idx="628">
                  <c:v>41432</c:v>
                </c:pt>
                <c:pt idx="629">
                  <c:v>41435</c:v>
                </c:pt>
                <c:pt idx="630">
                  <c:v>41436</c:v>
                </c:pt>
                <c:pt idx="631">
                  <c:v>41437</c:v>
                </c:pt>
                <c:pt idx="632">
                  <c:v>41438</c:v>
                </c:pt>
                <c:pt idx="633">
                  <c:v>41439</c:v>
                </c:pt>
                <c:pt idx="634">
                  <c:v>41442</c:v>
                </c:pt>
                <c:pt idx="635">
                  <c:v>41443</c:v>
                </c:pt>
                <c:pt idx="636">
                  <c:v>41444</c:v>
                </c:pt>
                <c:pt idx="637">
                  <c:v>41445</c:v>
                </c:pt>
                <c:pt idx="638">
                  <c:v>41446</c:v>
                </c:pt>
                <c:pt idx="639">
                  <c:v>41449</c:v>
                </c:pt>
                <c:pt idx="640">
                  <c:v>41450</c:v>
                </c:pt>
                <c:pt idx="641">
                  <c:v>41451</c:v>
                </c:pt>
                <c:pt idx="642">
                  <c:v>41452</c:v>
                </c:pt>
                <c:pt idx="643">
                  <c:v>41453</c:v>
                </c:pt>
                <c:pt idx="644">
                  <c:v>41456</c:v>
                </c:pt>
                <c:pt idx="645">
                  <c:v>41457</c:v>
                </c:pt>
                <c:pt idx="646">
                  <c:v>41458</c:v>
                </c:pt>
                <c:pt idx="647">
                  <c:v>41459</c:v>
                </c:pt>
                <c:pt idx="648">
                  <c:v>41460</c:v>
                </c:pt>
                <c:pt idx="649">
                  <c:v>41463</c:v>
                </c:pt>
                <c:pt idx="650">
                  <c:v>41464</c:v>
                </c:pt>
                <c:pt idx="651">
                  <c:v>41465</c:v>
                </c:pt>
                <c:pt idx="652">
                  <c:v>41466</c:v>
                </c:pt>
                <c:pt idx="653">
                  <c:v>41467</c:v>
                </c:pt>
                <c:pt idx="654">
                  <c:v>41470</c:v>
                </c:pt>
                <c:pt idx="655">
                  <c:v>41471</c:v>
                </c:pt>
                <c:pt idx="656">
                  <c:v>41472</c:v>
                </c:pt>
                <c:pt idx="657">
                  <c:v>41473</c:v>
                </c:pt>
                <c:pt idx="658">
                  <c:v>41474</c:v>
                </c:pt>
                <c:pt idx="659">
                  <c:v>41477</c:v>
                </c:pt>
                <c:pt idx="660">
                  <c:v>41478</c:v>
                </c:pt>
                <c:pt idx="661">
                  <c:v>41479</c:v>
                </c:pt>
                <c:pt idx="662">
                  <c:v>41480</c:v>
                </c:pt>
                <c:pt idx="663">
                  <c:v>41481</c:v>
                </c:pt>
                <c:pt idx="664">
                  <c:v>41484</c:v>
                </c:pt>
                <c:pt idx="665">
                  <c:v>41485</c:v>
                </c:pt>
                <c:pt idx="666">
                  <c:v>41486</c:v>
                </c:pt>
                <c:pt idx="667">
                  <c:v>41487</c:v>
                </c:pt>
                <c:pt idx="668">
                  <c:v>41488</c:v>
                </c:pt>
                <c:pt idx="669">
                  <c:v>41491</c:v>
                </c:pt>
                <c:pt idx="670">
                  <c:v>41492</c:v>
                </c:pt>
                <c:pt idx="671">
                  <c:v>41493</c:v>
                </c:pt>
                <c:pt idx="672">
                  <c:v>41494</c:v>
                </c:pt>
                <c:pt idx="673">
                  <c:v>41495</c:v>
                </c:pt>
                <c:pt idx="674">
                  <c:v>41498</c:v>
                </c:pt>
                <c:pt idx="675">
                  <c:v>41499</c:v>
                </c:pt>
                <c:pt idx="676">
                  <c:v>41500</c:v>
                </c:pt>
                <c:pt idx="677">
                  <c:v>41501</c:v>
                </c:pt>
                <c:pt idx="678">
                  <c:v>41502</c:v>
                </c:pt>
                <c:pt idx="679">
                  <c:v>41505</c:v>
                </c:pt>
                <c:pt idx="680">
                  <c:v>41506</c:v>
                </c:pt>
                <c:pt idx="681">
                  <c:v>41507</c:v>
                </c:pt>
                <c:pt idx="682">
                  <c:v>41508</c:v>
                </c:pt>
                <c:pt idx="683">
                  <c:v>41509</c:v>
                </c:pt>
                <c:pt idx="684">
                  <c:v>41512</c:v>
                </c:pt>
                <c:pt idx="685">
                  <c:v>41513</c:v>
                </c:pt>
                <c:pt idx="686">
                  <c:v>41514</c:v>
                </c:pt>
                <c:pt idx="687">
                  <c:v>41515</c:v>
                </c:pt>
                <c:pt idx="688">
                  <c:v>41516</c:v>
                </c:pt>
                <c:pt idx="689">
                  <c:v>41519</c:v>
                </c:pt>
                <c:pt idx="690">
                  <c:v>41520</c:v>
                </c:pt>
                <c:pt idx="691">
                  <c:v>41521</c:v>
                </c:pt>
                <c:pt idx="692">
                  <c:v>41522</c:v>
                </c:pt>
                <c:pt idx="693">
                  <c:v>41523</c:v>
                </c:pt>
                <c:pt idx="694">
                  <c:v>41526</c:v>
                </c:pt>
                <c:pt idx="695">
                  <c:v>41527</c:v>
                </c:pt>
                <c:pt idx="696">
                  <c:v>41528</c:v>
                </c:pt>
                <c:pt idx="697">
                  <c:v>41529</c:v>
                </c:pt>
                <c:pt idx="698">
                  <c:v>41530</c:v>
                </c:pt>
                <c:pt idx="699">
                  <c:v>41533</c:v>
                </c:pt>
                <c:pt idx="700">
                  <c:v>41534</c:v>
                </c:pt>
                <c:pt idx="701">
                  <c:v>41535</c:v>
                </c:pt>
                <c:pt idx="702">
                  <c:v>41540</c:v>
                </c:pt>
                <c:pt idx="703">
                  <c:v>41541</c:v>
                </c:pt>
                <c:pt idx="704">
                  <c:v>41542</c:v>
                </c:pt>
                <c:pt idx="705">
                  <c:v>41543</c:v>
                </c:pt>
                <c:pt idx="706">
                  <c:v>41544</c:v>
                </c:pt>
                <c:pt idx="707">
                  <c:v>41547</c:v>
                </c:pt>
                <c:pt idx="708">
                  <c:v>41548</c:v>
                </c:pt>
                <c:pt idx="709">
                  <c:v>41549</c:v>
                </c:pt>
                <c:pt idx="710">
                  <c:v>41550</c:v>
                </c:pt>
                <c:pt idx="711">
                  <c:v>41551</c:v>
                </c:pt>
                <c:pt idx="712">
                  <c:v>41554</c:v>
                </c:pt>
                <c:pt idx="713">
                  <c:v>41555</c:v>
                </c:pt>
                <c:pt idx="714">
                  <c:v>41556</c:v>
                </c:pt>
                <c:pt idx="715">
                  <c:v>41557</c:v>
                </c:pt>
                <c:pt idx="716">
                  <c:v>41558</c:v>
                </c:pt>
                <c:pt idx="717">
                  <c:v>41561</c:v>
                </c:pt>
                <c:pt idx="718">
                  <c:v>41562</c:v>
                </c:pt>
                <c:pt idx="719">
                  <c:v>41563</c:v>
                </c:pt>
                <c:pt idx="720">
                  <c:v>41564</c:v>
                </c:pt>
                <c:pt idx="721">
                  <c:v>41565</c:v>
                </c:pt>
                <c:pt idx="722">
                  <c:v>41568</c:v>
                </c:pt>
                <c:pt idx="723">
                  <c:v>41569</c:v>
                </c:pt>
                <c:pt idx="724">
                  <c:v>41570</c:v>
                </c:pt>
                <c:pt idx="725">
                  <c:v>41571</c:v>
                </c:pt>
                <c:pt idx="726">
                  <c:v>41572</c:v>
                </c:pt>
                <c:pt idx="727">
                  <c:v>41575</c:v>
                </c:pt>
                <c:pt idx="728">
                  <c:v>41576</c:v>
                </c:pt>
                <c:pt idx="729">
                  <c:v>41577</c:v>
                </c:pt>
                <c:pt idx="730">
                  <c:v>41578</c:v>
                </c:pt>
                <c:pt idx="731">
                  <c:v>41579</c:v>
                </c:pt>
                <c:pt idx="732">
                  <c:v>41582</c:v>
                </c:pt>
                <c:pt idx="733">
                  <c:v>41583</c:v>
                </c:pt>
                <c:pt idx="734">
                  <c:v>41584</c:v>
                </c:pt>
                <c:pt idx="735">
                  <c:v>41585</c:v>
                </c:pt>
                <c:pt idx="736">
                  <c:v>41586</c:v>
                </c:pt>
                <c:pt idx="737">
                  <c:v>41589</c:v>
                </c:pt>
                <c:pt idx="738">
                  <c:v>41590</c:v>
                </c:pt>
                <c:pt idx="739">
                  <c:v>41591</c:v>
                </c:pt>
                <c:pt idx="740">
                  <c:v>41592</c:v>
                </c:pt>
                <c:pt idx="741">
                  <c:v>41593</c:v>
                </c:pt>
                <c:pt idx="742">
                  <c:v>41596</c:v>
                </c:pt>
                <c:pt idx="743">
                  <c:v>41597</c:v>
                </c:pt>
                <c:pt idx="744">
                  <c:v>41598</c:v>
                </c:pt>
                <c:pt idx="745">
                  <c:v>41599</c:v>
                </c:pt>
                <c:pt idx="746">
                  <c:v>41600</c:v>
                </c:pt>
                <c:pt idx="747">
                  <c:v>41603</c:v>
                </c:pt>
                <c:pt idx="748">
                  <c:v>41604</c:v>
                </c:pt>
                <c:pt idx="749">
                  <c:v>41605</c:v>
                </c:pt>
                <c:pt idx="750">
                  <c:v>41606</c:v>
                </c:pt>
                <c:pt idx="751">
                  <c:v>41607</c:v>
                </c:pt>
                <c:pt idx="752">
                  <c:v>41610</c:v>
                </c:pt>
                <c:pt idx="753">
                  <c:v>41611</c:v>
                </c:pt>
                <c:pt idx="754">
                  <c:v>41612</c:v>
                </c:pt>
                <c:pt idx="755">
                  <c:v>41613</c:v>
                </c:pt>
                <c:pt idx="756">
                  <c:v>41614</c:v>
                </c:pt>
                <c:pt idx="757">
                  <c:v>41617</c:v>
                </c:pt>
                <c:pt idx="758">
                  <c:v>41618</c:v>
                </c:pt>
                <c:pt idx="759">
                  <c:v>41619</c:v>
                </c:pt>
                <c:pt idx="760">
                  <c:v>41620</c:v>
                </c:pt>
                <c:pt idx="761">
                  <c:v>41621</c:v>
                </c:pt>
                <c:pt idx="762">
                  <c:v>41624</c:v>
                </c:pt>
                <c:pt idx="763">
                  <c:v>41625</c:v>
                </c:pt>
                <c:pt idx="764">
                  <c:v>41626</c:v>
                </c:pt>
                <c:pt idx="765">
                  <c:v>41627</c:v>
                </c:pt>
                <c:pt idx="766">
                  <c:v>41628</c:v>
                </c:pt>
                <c:pt idx="767">
                  <c:v>41631</c:v>
                </c:pt>
                <c:pt idx="768">
                  <c:v>41632</c:v>
                </c:pt>
                <c:pt idx="769">
                  <c:v>41633</c:v>
                </c:pt>
                <c:pt idx="770">
                  <c:v>41634</c:v>
                </c:pt>
                <c:pt idx="771">
                  <c:v>41635</c:v>
                </c:pt>
                <c:pt idx="772">
                  <c:v>41638</c:v>
                </c:pt>
                <c:pt idx="773">
                  <c:v>41639</c:v>
                </c:pt>
                <c:pt idx="774">
                  <c:v>41641</c:v>
                </c:pt>
                <c:pt idx="775">
                  <c:v>41642</c:v>
                </c:pt>
                <c:pt idx="776">
                  <c:v>41645</c:v>
                </c:pt>
                <c:pt idx="777">
                  <c:v>41646</c:v>
                </c:pt>
                <c:pt idx="778">
                  <c:v>41647</c:v>
                </c:pt>
                <c:pt idx="779">
                  <c:v>41648</c:v>
                </c:pt>
                <c:pt idx="780">
                  <c:v>41649</c:v>
                </c:pt>
                <c:pt idx="781">
                  <c:v>41652</c:v>
                </c:pt>
                <c:pt idx="782">
                  <c:v>41653</c:v>
                </c:pt>
                <c:pt idx="783">
                  <c:v>41654</c:v>
                </c:pt>
                <c:pt idx="784">
                  <c:v>41655</c:v>
                </c:pt>
                <c:pt idx="785">
                  <c:v>41656</c:v>
                </c:pt>
                <c:pt idx="786">
                  <c:v>41659</c:v>
                </c:pt>
                <c:pt idx="787">
                  <c:v>41660</c:v>
                </c:pt>
                <c:pt idx="788">
                  <c:v>41661</c:v>
                </c:pt>
                <c:pt idx="789">
                  <c:v>41662</c:v>
                </c:pt>
                <c:pt idx="790">
                  <c:v>41663</c:v>
                </c:pt>
                <c:pt idx="791">
                  <c:v>41666</c:v>
                </c:pt>
                <c:pt idx="792">
                  <c:v>41667</c:v>
                </c:pt>
                <c:pt idx="793">
                  <c:v>41668</c:v>
                </c:pt>
                <c:pt idx="794">
                  <c:v>41669</c:v>
                </c:pt>
                <c:pt idx="795">
                  <c:v>41670</c:v>
                </c:pt>
                <c:pt idx="796">
                  <c:v>41673</c:v>
                </c:pt>
                <c:pt idx="797">
                  <c:v>41674</c:v>
                </c:pt>
                <c:pt idx="798">
                  <c:v>41675</c:v>
                </c:pt>
                <c:pt idx="799">
                  <c:v>41676</c:v>
                </c:pt>
                <c:pt idx="800">
                  <c:v>41677</c:v>
                </c:pt>
                <c:pt idx="801">
                  <c:v>41680</c:v>
                </c:pt>
                <c:pt idx="802">
                  <c:v>41681</c:v>
                </c:pt>
                <c:pt idx="803">
                  <c:v>41682</c:v>
                </c:pt>
                <c:pt idx="804">
                  <c:v>41683</c:v>
                </c:pt>
                <c:pt idx="805">
                  <c:v>41684</c:v>
                </c:pt>
                <c:pt idx="806">
                  <c:v>41687</c:v>
                </c:pt>
                <c:pt idx="807">
                  <c:v>41688</c:v>
                </c:pt>
                <c:pt idx="808">
                  <c:v>41689</c:v>
                </c:pt>
                <c:pt idx="809">
                  <c:v>41690</c:v>
                </c:pt>
                <c:pt idx="810">
                  <c:v>41691</c:v>
                </c:pt>
                <c:pt idx="811">
                  <c:v>41694</c:v>
                </c:pt>
                <c:pt idx="812">
                  <c:v>41695</c:v>
                </c:pt>
                <c:pt idx="813">
                  <c:v>41696</c:v>
                </c:pt>
                <c:pt idx="814">
                  <c:v>41697</c:v>
                </c:pt>
                <c:pt idx="815">
                  <c:v>41698</c:v>
                </c:pt>
                <c:pt idx="816">
                  <c:v>41701</c:v>
                </c:pt>
                <c:pt idx="817">
                  <c:v>41702</c:v>
                </c:pt>
                <c:pt idx="818">
                  <c:v>41703</c:v>
                </c:pt>
                <c:pt idx="819">
                  <c:v>41704</c:v>
                </c:pt>
                <c:pt idx="820">
                  <c:v>41705</c:v>
                </c:pt>
                <c:pt idx="821">
                  <c:v>41708</c:v>
                </c:pt>
                <c:pt idx="822">
                  <c:v>41709</c:v>
                </c:pt>
                <c:pt idx="823">
                  <c:v>41710</c:v>
                </c:pt>
                <c:pt idx="824">
                  <c:v>41711</c:v>
                </c:pt>
                <c:pt idx="825">
                  <c:v>41712</c:v>
                </c:pt>
                <c:pt idx="826">
                  <c:v>41715</c:v>
                </c:pt>
                <c:pt idx="827">
                  <c:v>41716</c:v>
                </c:pt>
                <c:pt idx="828">
                  <c:v>41717</c:v>
                </c:pt>
                <c:pt idx="829">
                  <c:v>41718</c:v>
                </c:pt>
                <c:pt idx="830">
                  <c:v>41719</c:v>
                </c:pt>
                <c:pt idx="831">
                  <c:v>41722</c:v>
                </c:pt>
                <c:pt idx="832">
                  <c:v>41723</c:v>
                </c:pt>
                <c:pt idx="833">
                  <c:v>41724</c:v>
                </c:pt>
                <c:pt idx="834">
                  <c:v>41725</c:v>
                </c:pt>
                <c:pt idx="835">
                  <c:v>41726</c:v>
                </c:pt>
                <c:pt idx="836">
                  <c:v>41729</c:v>
                </c:pt>
                <c:pt idx="837">
                  <c:v>41730</c:v>
                </c:pt>
                <c:pt idx="838">
                  <c:v>41731</c:v>
                </c:pt>
                <c:pt idx="839">
                  <c:v>41732</c:v>
                </c:pt>
                <c:pt idx="840">
                  <c:v>41733</c:v>
                </c:pt>
                <c:pt idx="841">
                  <c:v>41736</c:v>
                </c:pt>
                <c:pt idx="842">
                  <c:v>41737</c:v>
                </c:pt>
                <c:pt idx="843">
                  <c:v>41738</c:v>
                </c:pt>
                <c:pt idx="844">
                  <c:v>41739</c:v>
                </c:pt>
                <c:pt idx="845">
                  <c:v>41740</c:v>
                </c:pt>
                <c:pt idx="846">
                  <c:v>41743</c:v>
                </c:pt>
                <c:pt idx="847">
                  <c:v>41744</c:v>
                </c:pt>
                <c:pt idx="848">
                  <c:v>41745</c:v>
                </c:pt>
                <c:pt idx="849">
                  <c:v>41746</c:v>
                </c:pt>
                <c:pt idx="850">
                  <c:v>41751</c:v>
                </c:pt>
                <c:pt idx="851">
                  <c:v>41752</c:v>
                </c:pt>
                <c:pt idx="852">
                  <c:v>41753</c:v>
                </c:pt>
                <c:pt idx="853">
                  <c:v>41754</c:v>
                </c:pt>
                <c:pt idx="854">
                  <c:v>41757</c:v>
                </c:pt>
                <c:pt idx="855">
                  <c:v>41758</c:v>
                </c:pt>
                <c:pt idx="856">
                  <c:v>41759</c:v>
                </c:pt>
                <c:pt idx="857">
                  <c:v>41760</c:v>
                </c:pt>
                <c:pt idx="858">
                  <c:v>41761</c:v>
                </c:pt>
                <c:pt idx="859">
                  <c:v>41765</c:v>
                </c:pt>
                <c:pt idx="860">
                  <c:v>41766</c:v>
                </c:pt>
                <c:pt idx="861">
                  <c:v>41767</c:v>
                </c:pt>
                <c:pt idx="862">
                  <c:v>41768</c:v>
                </c:pt>
                <c:pt idx="863">
                  <c:v>41771</c:v>
                </c:pt>
                <c:pt idx="864">
                  <c:v>41772</c:v>
                </c:pt>
                <c:pt idx="865">
                  <c:v>41773</c:v>
                </c:pt>
                <c:pt idx="866">
                  <c:v>41774</c:v>
                </c:pt>
                <c:pt idx="867">
                  <c:v>41775</c:v>
                </c:pt>
                <c:pt idx="868">
                  <c:v>41778</c:v>
                </c:pt>
                <c:pt idx="869">
                  <c:v>41779</c:v>
                </c:pt>
                <c:pt idx="870">
                  <c:v>41780</c:v>
                </c:pt>
                <c:pt idx="871">
                  <c:v>41781</c:v>
                </c:pt>
                <c:pt idx="872">
                  <c:v>41782</c:v>
                </c:pt>
                <c:pt idx="873">
                  <c:v>41786</c:v>
                </c:pt>
                <c:pt idx="874">
                  <c:v>41787</c:v>
                </c:pt>
                <c:pt idx="875">
                  <c:v>41788</c:v>
                </c:pt>
                <c:pt idx="876">
                  <c:v>41789</c:v>
                </c:pt>
                <c:pt idx="877">
                  <c:v>41792</c:v>
                </c:pt>
                <c:pt idx="878">
                  <c:v>41793</c:v>
                </c:pt>
                <c:pt idx="879">
                  <c:v>41794</c:v>
                </c:pt>
                <c:pt idx="880">
                  <c:v>41795</c:v>
                </c:pt>
                <c:pt idx="881">
                  <c:v>41796</c:v>
                </c:pt>
                <c:pt idx="882">
                  <c:v>41799</c:v>
                </c:pt>
                <c:pt idx="883">
                  <c:v>41800</c:v>
                </c:pt>
                <c:pt idx="884">
                  <c:v>41801</c:v>
                </c:pt>
                <c:pt idx="885">
                  <c:v>41802</c:v>
                </c:pt>
                <c:pt idx="886">
                  <c:v>41803</c:v>
                </c:pt>
                <c:pt idx="887">
                  <c:v>41806</c:v>
                </c:pt>
                <c:pt idx="888">
                  <c:v>41807</c:v>
                </c:pt>
                <c:pt idx="889">
                  <c:v>41808</c:v>
                </c:pt>
                <c:pt idx="890">
                  <c:v>41809</c:v>
                </c:pt>
                <c:pt idx="891">
                  <c:v>41810</c:v>
                </c:pt>
                <c:pt idx="892">
                  <c:v>41813</c:v>
                </c:pt>
                <c:pt idx="893">
                  <c:v>41814</c:v>
                </c:pt>
                <c:pt idx="894">
                  <c:v>41815</c:v>
                </c:pt>
                <c:pt idx="895">
                  <c:v>41816</c:v>
                </c:pt>
                <c:pt idx="896">
                  <c:v>41817</c:v>
                </c:pt>
                <c:pt idx="897">
                  <c:v>41820</c:v>
                </c:pt>
                <c:pt idx="898">
                  <c:v>41821</c:v>
                </c:pt>
                <c:pt idx="899">
                  <c:v>41822</c:v>
                </c:pt>
                <c:pt idx="900">
                  <c:v>41823</c:v>
                </c:pt>
                <c:pt idx="901">
                  <c:v>41824</c:v>
                </c:pt>
                <c:pt idx="902">
                  <c:v>41827</c:v>
                </c:pt>
                <c:pt idx="903">
                  <c:v>41828</c:v>
                </c:pt>
                <c:pt idx="904">
                  <c:v>41829</c:v>
                </c:pt>
                <c:pt idx="905">
                  <c:v>41830</c:v>
                </c:pt>
                <c:pt idx="906">
                  <c:v>41831</c:v>
                </c:pt>
                <c:pt idx="907">
                  <c:v>41834</c:v>
                </c:pt>
                <c:pt idx="908">
                  <c:v>41835</c:v>
                </c:pt>
                <c:pt idx="909">
                  <c:v>41836</c:v>
                </c:pt>
                <c:pt idx="910">
                  <c:v>41837</c:v>
                </c:pt>
                <c:pt idx="911">
                  <c:v>41838</c:v>
                </c:pt>
                <c:pt idx="912">
                  <c:v>41841</c:v>
                </c:pt>
                <c:pt idx="913">
                  <c:v>41842</c:v>
                </c:pt>
                <c:pt idx="914">
                  <c:v>41843</c:v>
                </c:pt>
                <c:pt idx="915">
                  <c:v>41844</c:v>
                </c:pt>
                <c:pt idx="916">
                  <c:v>41845</c:v>
                </c:pt>
                <c:pt idx="917">
                  <c:v>41848</c:v>
                </c:pt>
                <c:pt idx="918">
                  <c:v>41849</c:v>
                </c:pt>
                <c:pt idx="919">
                  <c:v>41850</c:v>
                </c:pt>
                <c:pt idx="920">
                  <c:v>41851</c:v>
                </c:pt>
                <c:pt idx="921">
                  <c:v>41852</c:v>
                </c:pt>
                <c:pt idx="922">
                  <c:v>41855</c:v>
                </c:pt>
                <c:pt idx="923">
                  <c:v>41856</c:v>
                </c:pt>
                <c:pt idx="924">
                  <c:v>41857</c:v>
                </c:pt>
                <c:pt idx="925">
                  <c:v>41858</c:v>
                </c:pt>
                <c:pt idx="926">
                  <c:v>41859</c:v>
                </c:pt>
                <c:pt idx="927">
                  <c:v>41862</c:v>
                </c:pt>
                <c:pt idx="928">
                  <c:v>41863</c:v>
                </c:pt>
                <c:pt idx="929">
                  <c:v>41864</c:v>
                </c:pt>
                <c:pt idx="930">
                  <c:v>41865</c:v>
                </c:pt>
                <c:pt idx="931">
                  <c:v>41866</c:v>
                </c:pt>
                <c:pt idx="932">
                  <c:v>41869</c:v>
                </c:pt>
                <c:pt idx="933">
                  <c:v>41870</c:v>
                </c:pt>
                <c:pt idx="934">
                  <c:v>41871</c:v>
                </c:pt>
                <c:pt idx="935">
                  <c:v>41872</c:v>
                </c:pt>
                <c:pt idx="936">
                  <c:v>41873</c:v>
                </c:pt>
                <c:pt idx="937">
                  <c:v>41877</c:v>
                </c:pt>
                <c:pt idx="938">
                  <c:v>41878</c:v>
                </c:pt>
                <c:pt idx="939">
                  <c:v>41879</c:v>
                </c:pt>
                <c:pt idx="940">
                  <c:v>41880</c:v>
                </c:pt>
                <c:pt idx="941">
                  <c:v>41883</c:v>
                </c:pt>
                <c:pt idx="942">
                  <c:v>41884</c:v>
                </c:pt>
                <c:pt idx="943">
                  <c:v>41885</c:v>
                </c:pt>
                <c:pt idx="944">
                  <c:v>41886</c:v>
                </c:pt>
                <c:pt idx="945">
                  <c:v>41887</c:v>
                </c:pt>
                <c:pt idx="946">
                  <c:v>41890</c:v>
                </c:pt>
                <c:pt idx="947">
                  <c:v>41891</c:v>
                </c:pt>
                <c:pt idx="948">
                  <c:v>41892</c:v>
                </c:pt>
                <c:pt idx="949">
                  <c:v>41893</c:v>
                </c:pt>
                <c:pt idx="950">
                  <c:v>41894</c:v>
                </c:pt>
                <c:pt idx="951">
                  <c:v>41897</c:v>
                </c:pt>
                <c:pt idx="952">
                  <c:v>41898</c:v>
                </c:pt>
                <c:pt idx="953">
                  <c:v>41899</c:v>
                </c:pt>
                <c:pt idx="954">
                  <c:v>41900</c:v>
                </c:pt>
                <c:pt idx="955">
                  <c:v>41901</c:v>
                </c:pt>
                <c:pt idx="956">
                  <c:v>41904</c:v>
                </c:pt>
                <c:pt idx="957">
                  <c:v>41905</c:v>
                </c:pt>
                <c:pt idx="958">
                  <c:v>41906</c:v>
                </c:pt>
                <c:pt idx="959">
                  <c:v>41907</c:v>
                </c:pt>
                <c:pt idx="960">
                  <c:v>41908</c:v>
                </c:pt>
                <c:pt idx="961">
                  <c:v>41911</c:v>
                </c:pt>
                <c:pt idx="962">
                  <c:v>41912</c:v>
                </c:pt>
                <c:pt idx="963">
                  <c:v>41913</c:v>
                </c:pt>
                <c:pt idx="964">
                  <c:v>41914</c:v>
                </c:pt>
                <c:pt idx="965">
                  <c:v>41915</c:v>
                </c:pt>
                <c:pt idx="966">
                  <c:v>41918</c:v>
                </c:pt>
                <c:pt idx="967">
                  <c:v>41919</c:v>
                </c:pt>
                <c:pt idx="968">
                  <c:v>41920</c:v>
                </c:pt>
                <c:pt idx="969">
                  <c:v>41921</c:v>
                </c:pt>
                <c:pt idx="970">
                  <c:v>41922</c:v>
                </c:pt>
                <c:pt idx="971">
                  <c:v>41925</c:v>
                </c:pt>
                <c:pt idx="972">
                  <c:v>41926</c:v>
                </c:pt>
                <c:pt idx="973">
                  <c:v>41927</c:v>
                </c:pt>
                <c:pt idx="974">
                  <c:v>41928</c:v>
                </c:pt>
                <c:pt idx="975">
                  <c:v>41929</c:v>
                </c:pt>
                <c:pt idx="976">
                  <c:v>41932</c:v>
                </c:pt>
                <c:pt idx="977">
                  <c:v>41933</c:v>
                </c:pt>
                <c:pt idx="978">
                  <c:v>41934</c:v>
                </c:pt>
                <c:pt idx="979">
                  <c:v>41935</c:v>
                </c:pt>
                <c:pt idx="980">
                  <c:v>41936</c:v>
                </c:pt>
                <c:pt idx="981">
                  <c:v>41939</c:v>
                </c:pt>
                <c:pt idx="982">
                  <c:v>41940</c:v>
                </c:pt>
                <c:pt idx="983">
                  <c:v>41941</c:v>
                </c:pt>
                <c:pt idx="984">
                  <c:v>41942</c:v>
                </c:pt>
                <c:pt idx="985">
                  <c:v>41943</c:v>
                </c:pt>
                <c:pt idx="986">
                  <c:v>41946</c:v>
                </c:pt>
                <c:pt idx="987">
                  <c:v>41947</c:v>
                </c:pt>
                <c:pt idx="988">
                  <c:v>41948</c:v>
                </c:pt>
                <c:pt idx="989">
                  <c:v>41949</c:v>
                </c:pt>
                <c:pt idx="990">
                  <c:v>41950</c:v>
                </c:pt>
                <c:pt idx="991">
                  <c:v>41953</c:v>
                </c:pt>
                <c:pt idx="992">
                  <c:v>41954</c:v>
                </c:pt>
                <c:pt idx="993">
                  <c:v>41955</c:v>
                </c:pt>
                <c:pt idx="994">
                  <c:v>41956</c:v>
                </c:pt>
                <c:pt idx="995">
                  <c:v>41957</c:v>
                </c:pt>
                <c:pt idx="996">
                  <c:v>41960</c:v>
                </c:pt>
                <c:pt idx="997">
                  <c:v>41961</c:v>
                </c:pt>
                <c:pt idx="998">
                  <c:v>41962</c:v>
                </c:pt>
                <c:pt idx="999">
                  <c:v>41963</c:v>
                </c:pt>
                <c:pt idx="1000">
                  <c:v>41964</c:v>
                </c:pt>
                <c:pt idx="1001">
                  <c:v>41967</c:v>
                </c:pt>
                <c:pt idx="1002">
                  <c:v>41968</c:v>
                </c:pt>
                <c:pt idx="1003">
                  <c:v>41969</c:v>
                </c:pt>
                <c:pt idx="1004">
                  <c:v>41970</c:v>
                </c:pt>
                <c:pt idx="1005">
                  <c:v>41971</c:v>
                </c:pt>
                <c:pt idx="1006">
                  <c:v>41974</c:v>
                </c:pt>
                <c:pt idx="1007">
                  <c:v>41975</c:v>
                </c:pt>
                <c:pt idx="1008">
                  <c:v>41976</c:v>
                </c:pt>
                <c:pt idx="1009">
                  <c:v>41977</c:v>
                </c:pt>
                <c:pt idx="1010">
                  <c:v>41978</c:v>
                </c:pt>
                <c:pt idx="1011">
                  <c:v>41981</c:v>
                </c:pt>
                <c:pt idx="1012">
                  <c:v>41982</c:v>
                </c:pt>
                <c:pt idx="1013">
                  <c:v>41983</c:v>
                </c:pt>
                <c:pt idx="1014">
                  <c:v>41984</c:v>
                </c:pt>
                <c:pt idx="1015">
                  <c:v>41985</c:v>
                </c:pt>
                <c:pt idx="1016">
                  <c:v>41988</c:v>
                </c:pt>
                <c:pt idx="1017">
                  <c:v>41989</c:v>
                </c:pt>
                <c:pt idx="1018">
                  <c:v>41990</c:v>
                </c:pt>
                <c:pt idx="1019">
                  <c:v>41991</c:v>
                </c:pt>
                <c:pt idx="1020">
                  <c:v>41992</c:v>
                </c:pt>
                <c:pt idx="1021">
                  <c:v>41995</c:v>
                </c:pt>
                <c:pt idx="1022">
                  <c:v>41996</c:v>
                </c:pt>
                <c:pt idx="1023">
                  <c:v>41997</c:v>
                </c:pt>
                <c:pt idx="1024">
                  <c:v>41998</c:v>
                </c:pt>
                <c:pt idx="1025">
                  <c:v>41999</c:v>
                </c:pt>
                <c:pt idx="1026">
                  <c:v>42002</c:v>
                </c:pt>
                <c:pt idx="1027">
                  <c:v>42003</c:v>
                </c:pt>
                <c:pt idx="1028">
                  <c:v>42004</c:v>
                </c:pt>
                <c:pt idx="1029">
                  <c:v>42006</c:v>
                </c:pt>
                <c:pt idx="1030">
                  <c:v>42009</c:v>
                </c:pt>
                <c:pt idx="1031">
                  <c:v>42010</c:v>
                </c:pt>
                <c:pt idx="1032">
                  <c:v>42011</c:v>
                </c:pt>
                <c:pt idx="1033">
                  <c:v>42012</c:v>
                </c:pt>
                <c:pt idx="1034">
                  <c:v>42013</c:v>
                </c:pt>
                <c:pt idx="1035">
                  <c:v>42016</c:v>
                </c:pt>
                <c:pt idx="1036">
                  <c:v>42017</c:v>
                </c:pt>
                <c:pt idx="1037">
                  <c:v>42018</c:v>
                </c:pt>
                <c:pt idx="1038">
                  <c:v>42019</c:v>
                </c:pt>
                <c:pt idx="1039">
                  <c:v>42020</c:v>
                </c:pt>
                <c:pt idx="1040">
                  <c:v>42023</c:v>
                </c:pt>
                <c:pt idx="1041">
                  <c:v>42024</c:v>
                </c:pt>
                <c:pt idx="1042">
                  <c:v>42025</c:v>
                </c:pt>
                <c:pt idx="1043">
                  <c:v>42026</c:v>
                </c:pt>
                <c:pt idx="1044">
                  <c:v>42027</c:v>
                </c:pt>
                <c:pt idx="1045">
                  <c:v>42030</c:v>
                </c:pt>
                <c:pt idx="1046">
                  <c:v>42031</c:v>
                </c:pt>
                <c:pt idx="1047">
                  <c:v>42032</c:v>
                </c:pt>
                <c:pt idx="1048">
                  <c:v>42033</c:v>
                </c:pt>
                <c:pt idx="1049">
                  <c:v>42034</c:v>
                </c:pt>
                <c:pt idx="1050">
                  <c:v>42037</c:v>
                </c:pt>
                <c:pt idx="1051">
                  <c:v>42038</c:v>
                </c:pt>
                <c:pt idx="1052">
                  <c:v>42039</c:v>
                </c:pt>
                <c:pt idx="1053">
                  <c:v>42040</c:v>
                </c:pt>
                <c:pt idx="1054">
                  <c:v>42041</c:v>
                </c:pt>
                <c:pt idx="1055">
                  <c:v>42044</c:v>
                </c:pt>
                <c:pt idx="1056">
                  <c:v>42045</c:v>
                </c:pt>
                <c:pt idx="1057">
                  <c:v>42046</c:v>
                </c:pt>
                <c:pt idx="1058">
                  <c:v>42047</c:v>
                </c:pt>
                <c:pt idx="1059">
                  <c:v>42048</c:v>
                </c:pt>
                <c:pt idx="1060">
                  <c:v>42051</c:v>
                </c:pt>
                <c:pt idx="1061">
                  <c:v>42052</c:v>
                </c:pt>
                <c:pt idx="1062">
                  <c:v>42053</c:v>
                </c:pt>
                <c:pt idx="1063">
                  <c:v>42054</c:v>
                </c:pt>
                <c:pt idx="1064">
                  <c:v>42055</c:v>
                </c:pt>
                <c:pt idx="1065">
                  <c:v>42058</c:v>
                </c:pt>
                <c:pt idx="1066">
                  <c:v>42059</c:v>
                </c:pt>
                <c:pt idx="1067">
                  <c:v>42060</c:v>
                </c:pt>
                <c:pt idx="1068">
                  <c:v>42061</c:v>
                </c:pt>
                <c:pt idx="1069">
                  <c:v>42062</c:v>
                </c:pt>
                <c:pt idx="1070">
                  <c:v>42065</c:v>
                </c:pt>
                <c:pt idx="1071">
                  <c:v>42066</c:v>
                </c:pt>
                <c:pt idx="1072">
                  <c:v>42067</c:v>
                </c:pt>
                <c:pt idx="1073">
                  <c:v>42068</c:v>
                </c:pt>
                <c:pt idx="1074">
                  <c:v>42069</c:v>
                </c:pt>
                <c:pt idx="1075">
                  <c:v>42072</c:v>
                </c:pt>
                <c:pt idx="1076">
                  <c:v>42073</c:v>
                </c:pt>
                <c:pt idx="1077">
                  <c:v>42074</c:v>
                </c:pt>
                <c:pt idx="1078">
                  <c:v>42075</c:v>
                </c:pt>
                <c:pt idx="1079">
                  <c:v>42076</c:v>
                </c:pt>
                <c:pt idx="1080">
                  <c:v>42079</c:v>
                </c:pt>
                <c:pt idx="1081">
                  <c:v>42080</c:v>
                </c:pt>
                <c:pt idx="1082">
                  <c:v>42081</c:v>
                </c:pt>
                <c:pt idx="1083">
                  <c:v>42082</c:v>
                </c:pt>
                <c:pt idx="1084">
                  <c:v>42083</c:v>
                </c:pt>
                <c:pt idx="1085">
                  <c:v>42086</c:v>
                </c:pt>
                <c:pt idx="1086">
                  <c:v>42087</c:v>
                </c:pt>
                <c:pt idx="1087">
                  <c:v>42088</c:v>
                </c:pt>
                <c:pt idx="1088">
                  <c:v>42089</c:v>
                </c:pt>
                <c:pt idx="1089">
                  <c:v>42090</c:v>
                </c:pt>
                <c:pt idx="1090">
                  <c:v>42093</c:v>
                </c:pt>
                <c:pt idx="1091">
                  <c:v>42094</c:v>
                </c:pt>
                <c:pt idx="1092">
                  <c:v>42095</c:v>
                </c:pt>
                <c:pt idx="1093">
                  <c:v>42096</c:v>
                </c:pt>
                <c:pt idx="1094">
                  <c:v>42101</c:v>
                </c:pt>
                <c:pt idx="1095">
                  <c:v>42102</c:v>
                </c:pt>
                <c:pt idx="1096">
                  <c:v>42103</c:v>
                </c:pt>
                <c:pt idx="1097">
                  <c:v>42104</c:v>
                </c:pt>
                <c:pt idx="1098">
                  <c:v>42107</c:v>
                </c:pt>
                <c:pt idx="1099">
                  <c:v>42108</c:v>
                </c:pt>
                <c:pt idx="1100">
                  <c:v>42109</c:v>
                </c:pt>
                <c:pt idx="1101">
                  <c:v>42110</c:v>
                </c:pt>
                <c:pt idx="1102">
                  <c:v>42111</c:v>
                </c:pt>
                <c:pt idx="1103">
                  <c:v>42114</c:v>
                </c:pt>
                <c:pt idx="1104">
                  <c:v>42115</c:v>
                </c:pt>
                <c:pt idx="1105">
                  <c:v>42116</c:v>
                </c:pt>
                <c:pt idx="1106">
                  <c:v>42117</c:v>
                </c:pt>
                <c:pt idx="1107">
                  <c:v>42118</c:v>
                </c:pt>
                <c:pt idx="1108">
                  <c:v>42121</c:v>
                </c:pt>
                <c:pt idx="1109">
                  <c:v>42122</c:v>
                </c:pt>
                <c:pt idx="1110">
                  <c:v>42123</c:v>
                </c:pt>
                <c:pt idx="1111">
                  <c:v>42124</c:v>
                </c:pt>
                <c:pt idx="1112">
                  <c:v>42128</c:v>
                </c:pt>
                <c:pt idx="1113">
                  <c:v>42129</c:v>
                </c:pt>
                <c:pt idx="1114">
                  <c:v>42130</c:v>
                </c:pt>
                <c:pt idx="1115">
                  <c:v>42131</c:v>
                </c:pt>
                <c:pt idx="1116">
                  <c:v>42132</c:v>
                </c:pt>
                <c:pt idx="1117">
                  <c:v>42135</c:v>
                </c:pt>
                <c:pt idx="1118">
                  <c:v>42136</c:v>
                </c:pt>
                <c:pt idx="1119">
                  <c:v>42137</c:v>
                </c:pt>
                <c:pt idx="1120">
                  <c:v>42138</c:v>
                </c:pt>
                <c:pt idx="1121">
                  <c:v>42139</c:v>
                </c:pt>
                <c:pt idx="1122">
                  <c:v>42142</c:v>
                </c:pt>
                <c:pt idx="1123">
                  <c:v>42143</c:v>
                </c:pt>
                <c:pt idx="1124">
                  <c:v>42144</c:v>
                </c:pt>
                <c:pt idx="1125">
                  <c:v>42145</c:v>
                </c:pt>
                <c:pt idx="1126">
                  <c:v>42146</c:v>
                </c:pt>
                <c:pt idx="1127">
                  <c:v>42150</c:v>
                </c:pt>
                <c:pt idx="1128">
                  <c:v>42151</c:v>
                </c:pt>
                <c:pt idx="1129">
                  <c:v>42152</c:v>
                </c:pt>
                <c:pt idx="1130">
                  <c:v>42153</c:v>
                </c:pt>
                <c:pt idx="1131">
                  <c:v>42156</c:v>
                </c:pt>
                <c:pt idx="1132">
                  <c:v>42157</c:v>
                </c:pt>
                <c:pt idx="1133">
                  <c:v>42158</c:v>
                </c:pt>
                <c:pt idx="1134">
                  <c:v>42159</c:v>
                </c:pt>
                <c:pt idx="1135">
                  <c:v>42160</c:v>
                </c:pt>
                <c:pt idx="1136">
                  <c:v>42163</c:v>
                </c:pt>
                <c:pt idx="1137">
                  <c:v>42164</c:v>
                </c:pt>
                <c:pt idx="1138">
                  <c:v>42165</c:v>
                </c:pt>
                <c:pt idx="1139">
                  <c:v>42166</c:v>
                </c:pt>
                <c:pt idx="1140">
                  <c:v>42167</c:v>
                </c:pt>
                <c:pt idx="1141">
                  <c:v>42170</c:v>
                </c:pt>
                <c:pt idx="1142">
                  <c:v>42171</c:v>
                </c:pt>
                <c:pt idx="1143">
                  <c:v>42172</c:v>
                </c:pt>
                <c:pt idx="1144">
                  <c:v>42173</c:v>
                </c:pt>
                <c:pt idx="1145">
                  <c:v>42174</c:v>
                </c:pt>
                <c:pt idx="1146">
                  <c:v>42177</c:v>
                </c:pt>
                <c:pt idx="1147">
                  <c:v>42178</c:v>
                </c:pt>
                <c:pt idx="1148">
                  <c:v>42179</c:v>
                </c:pt>
                <c:pt idx="1149">
                  <c:v>42180</c:v>
                </c:pt>
                <c:pt idx="1150">
                  <c:v>42181</c:v>
                </c:pt>
                <c:pt idx="1151">
                  <c:v>42184</c:v>
                </c:pt>
                <c:pt idx="1152">
                  <c:v>42185</c:v>
                </c:pt>
                <c:pt idx="1153">
                  <c:v>42186</c:v>
                </c:pt>
                <c:pt idx="1154">
                  <c:v>42187</c:v>
                </c:pt>
                <c:pt idx="1155">
                  <c:v>42188</c:v>
                </c:pt>
                <c:pt idx="1156">
                  <c:v>42191</c:v>
                </c:pt>
                <c:pt idx="1157">
                  <c:v>42192</c:v>
                </c:pt>
                <c:pt idx="1158">
                  <c:v>42193</c:v>
                </c:pt>
                <c:pt idx="1159">
                  <c:v>42194</c:v>
                </c:pt>
                <c:pt idx="1160">
                  <c:v>42195</c:v>
                </c:pt>
                <c:pt idx="1161">
                  <c:v>42198</c:v>
                </c:pt>
                <c:pt idx="1162">
                  <c:v>42199</c:v>
                </c:pt>
                <c:pt idx="1163">
                  <c:v>42200</c:v>
                </c:pt>
                <c:pt idx="1164">
                  <c:v>42201</c:v>
                </c:pt>
                <c:pt idx="1165">
                  <c:v>42202</c:v>
                </c:pt>
                <c:pt idx="1166">
                  <c:v>42205</c:v>
                </c:pt>
                <c:pt idx="1167">
                  <c:v>42206</c:v>
                </c:pt>
                <c:pt idx="1168">
                  <c:v>42207</c:v>
                </c:pt>
                <c:pt idx="1169">
                  <c:v>42208</c:v>
                </c:pt>
                <c:pt idx="1170">
                  <c:v>42209</c:v>
                </c:pt>
                <c:pt idx="1171">
                  <c:v>42212</c:v>
                </c:pt>
                <c:pt idx="1172">
                  <c:v>42213</c:v>
                </c:pt>
                <c:pt idx="1173">
                  <c:v>42214</c:v>
                </c:pt>
                <c:pt idx="1174">
                  <c:v>42215</c:v>
                </c:pt>
                <c:pt idx="1175">
                  <c:v>42216</c:v>
                </c:pt>
                <c:pt idx="1176">
                  <c:v>42219</c:v>
                </c:pt>
                <c:pt idx="1177">
                  <c:v>42220</c:v>
                </c:pt>
                <c:pt idx="1178">
                  <c:v>42221</c:v>
                </c:pt>
                <c:pt idx="1179">
                  <c:v>42222</c:v>
                </c:pt>
                <c:pt idx="1180">
                  <c:v>42223</c:v>
                </c:pt>
                <c:pt idx="1181">
                  <c:v>42226</c:v>
                </c:pt>
                <c:pt idx="1182">
                  <c:v>42227</c:v>
                </c:pt>
                <c:pt idx="1183">
                  <c:v>42228</c:v>
                </c:pt>
                <c:pt idx="1184">
                  <c:v>42229</c:v>
                </c:pt>
                <c:pt idx="1185">
                  <c:v>42230</c:v>
                </c:pt>
                <c:pt idx="1186">
                  <c:v>42233</c:v>
                </c:pt>
                <c:pt idx="1187">
                  <c:v>42234</c:v>
                </c:pt>
                <c:pt idx="1188">
                  <c:v>42235</c:v>
                </c:pt>
                <c:pt idx="1189">
                  <c:v>42236</c:v>
                </c:pt>
                <c:pt idx="1190">
                  <c:v>42237</c:v>
                </c:pt>
                <c:pt idx="1191">
                  <c:v>42240</c:v>
                </c:pt>
                <c:pt idx="1192">
                  <c:v>42241</c:v>
                </c:pt>
                <c:pt idx="1193">
                  <c:v>42242</c:v>
                </c:pt>
                <c:pt idx="1194">
                  <c:v>42243</c:v>
                </c:pt>
                <c:pt idx="1195">
                  <c:v>42244</c:v>
                </c:pt>
                <c:pt idx="1196">
                  <c:v>42248</c:v>
                </c:pt>
                <c:pt idx="1197">
                  <c:v>42249</c:v>
                </c:pt>
                <c:pt idx="1198">
                  <c:v>42250</c:v>
                </c:pt>
                <c:pt idx="1199">
                  <c:v>42251</c:v>
                </c:pt>
                <c:pt idx="1200">
                  <c:v>42254</c:v>
                </c:pt>
                <c:pt idx="1201">
                  <c:v>42255</c:v>
                </c:pt>
                <c:pt idx="1202">
                  <c:v>42256</c:v>
                </c:pt>
                <c:pt idx="1203">
                  <c:v>42257</c:v>
                </c:pt>
                <c:pt idx="1204">
                  <c:v>42258</c:v>
                </c:pt>
                <c:pt idx="1205">
                  <c:v>42261</c:v>
                </c:pt>
                <c:pt idx="1206">
                  <c:v>42262</c:v>
                </c:pt>
                <c:pt idx="1207">
                  <c:v>42263</c:v>
                </c:pt>
                <c:pt idx="1208">
                  <c:v>42264</c:v>
                </c:pt>
                <c:pt idx="1209">
                  <c:v>42265</c:v>
                </c:pt>
                <c:pt idx="1210">
                  <c:v>42268</c:v>
                </c:pt>
                <c:pt idx="1211">
                  <c:v>42269</c:v>
                </c:pt>
                <c:pt idx="1212">
                  <c:v>42270</c:v>
                </c:pt>
                <c:pt idx="1213">
                  <c:v>42271</c:v>
                </c:pt>
                <c:pt idx="1214">
                  <c:v>42272</c:v>
                </c:pt>
                <c:pt idx="1215">
                  <c:v>42275</c:v>
                </c:pt>
                <c:pt idx="1216">
                  <c:v>42276</c:v>
                </c:pt>
                <c:pt idx="1217">
                  <c:v>42277</c:v>
                </c:pt>
                <c:pt idx="1218">
                  <c:v>42278</c:v>
                </c:pt>
                <c:pt idx="1219">
                  <c:v>42279</c:v>
                </c:pt>
                <c:pt idx="1220">
                  <c:v>42282</c:v>
                </c:pt>
                <c:pt idx="1221">
                  <c:v>42283</c:v>
                </c:pt>
                <c:pt idx="1222">
                  <c:v>42284</c:v>
                </c:pt>
                <c:pt idx="1223">
                  <c:v>42285</c:v>
                </c:pt>
                <c:pt idx="1224">
                  <c:v>42286</c:v>
                </c:pt>
                <c:pt idx="1225">
                  <c:v>42289</c:v>
                </c:pt>
                <c:pt idx="1226">
                  <c:v>42290</c:v>
                </c:pt>
                <c:pt idx="1227">
                  <c:v>42291</c:v>
                </c:pt>
                <c:pt idx="1228">
                  <c:v>42292</c:v>
                </c:pt>
                <c:pt idx="1229">
                  <c:v>42293</c:v>
                </c:pt>
                <c:pt idx="1230">
                  <c:v>42296</c:v>
                </c:pt>
                <c:pt idx="1231">
                  <c:v>42297</c:v>
                </c:pt>
                <c:pt idx="1232">
                  <c:v>42298</c:v>
                </c:pt>
                <c:pt idx="1233">
                  <c:v>42299</c:v>
                </c:pt>
                <c:pt idx="1234">
                  <c:v>42300</c:v>
                </c:pt>
                <c:pt idx="1235">
                  <c:v>42303</c:v>
                </c:pt>
                <c:pt idx="1236">
                  <c:v>42304</c:v>
                </c:pt>
                <c:pt idx="1237">
                  <c:v>42305</c:v>
                </c:pt>
                <c:pt idx="1238">
                  <c:v>42306</c:v>
                </c:pt>
                <c:pt idx="1239">
                  <c:v>42307</c:v>
                </c:pt>
                <c:pt idx="1240">
                  <c:v>42310</c:v>
                </c:pt>
                <c:pt idx="1241">
                  <c:v>42311</c:v>
                </c:pt>
                <c:pt idx="1242">
                  <c:v>42312</c:v>
                </c:pt>
                <c:pt idx="1243">
                  <c:v>42313</c:v>
                </c:pt>
                <c:pt idx="1244">
                  <c:v>42314</c:v>
                </c:pt>
                <c:pt idx="1245">
                  <c:v>42317</c:v>
                </c:pt>
                <c:pt idx="1246">
                  <c:v>42318</c:v>
                </c:pt>
                <c:pt idx="1247">
                  <c:v>42319</c:v>
                </c:pt>
                <c:pt idx="1248">
                  <c:v>42320</c:v>
                </c:pt>
                <c:pt idx="1249">
                  <c:v>42321</c:v>
                </c:pt>
                <c:pt idx="1250">
                  <c:v>42324</c:v>
                </c:pt>
                <c:pt idx="1251">
                  <c:v>42325</c:v>
                </c:pt>
                <c:pt idx="1252">
                  <c:v>42326</c:v>
                </c:pt>
                <c:pt idx="1253">
                  <c:v>42327</c:v>
                </c:pt>
                <c:pt idx="1254">
                  <c:v>42328</c:v>
                </c:pt>
                <c:pt idx="1255">
                  <c:v>42331</c:v>
                </c:pt>
                <c:pt idx="1256">
                  <c:v>42332</c:v>
                </c:pt>
                <c:pt idx="1257">
                  <c:v>42333</c:v>
                </c:pt>
                <c:pt idx="1258">
                  <c:v>42334</c:v>
                </c:pt>
                <c:pt idx="1259">
                  <c:v>42335</c:v>
                </c:pt>
                <c:pt idx="1260">
                  <c:v>42338</c:v>
                </c:pt>
                <c:pt idx="1261">
                  <c:v>42339</c:v>
                </c:pt>
                <c:pt idx="1262">
                  <c:v>42340</c:v>
                </c:pt>
                <c:pt idx="1263">
                  <c:v>42341</c:v>
                </c:pt>
                <c:pt idx="1264">
                  <c:v>42342</c:v>
                </c:pt>
                <c:pt idx="1265">
                  <c:v>42345</c:v>
                </c:pt>
                <c:pt idx="1266">
                  <c:v>42346</c:v>
                </c:pt>
                <c:pt idx="1267">
                  <c:v>42347</c:v>
                </c:pt>
                <c:pt idx="1268">
                  <c:v>42348</c:v>
                </c:pt>
                <c:pt idx="1269">
                  <c:v>42349</c:v>
                </c:pt>
                <c:pt idx="1270">
                  <c:v>42352</c:v>
                </c:pt>
                <c:pt idx="1271">
                  <c:v>42353</c:v>
                </c:pt>
                <c:pt idx="1272">
                  <c:v>42354</c:v>
                </c:pt>
                <c:pt idx="1273">
                  <c:v>42355</c:v>
                </c:pt>
                <c:pt idx="1274">
                  <c:v>42356</c:v>
                </c:pt>
                <c:pt idx="1275">
                  <c:v>42359</c:v>
                </c:pt>
                <c:pt idx="1276">
                  <c:v>42360</c:v>
                </c:pt>
                <c:pt idx="1277">
                  <c:v>42361</c:v>
                </c:pt>
                <c:pt idx="1278">
                  <c:v>42362</c:v>
                </c:pt>
                <c:pt idx="1279">
                  <c:v>42367</c:v>
                </c:pt>
                <c:pt idx="1280">
                  <c:v>42368</c:v>
                </c:pt>
                <c:pt idx="1281">
                  <c:v>42369</c:v>
                </c:pt>
                <c:pt idx="1282">
                  <c:v>42373</c:v>
                </c:pt>
                <c:pt idx="1283">
                  <c:v>42374</c:v>
                </c:pt>
                <c:pt idx="1284">
                  <c:v>42375</c:v>
                </c:pt>
                <c:pt idx="1285">
                  <c:v>42376</c:v>
                </c:pt>
                <c:pt idx="1286">
                  <c:v>42377</c:v>
                </c:pt>
                <c:pt idx="1287">
                  <c:v>42380</c:v>
                </c:pt>
                <c:pt idx="1288">
                  <c:v>42381</c:v>
                </c:pt>
              </c:numCache>
            </c:numRef>
          </c:cat>
          <c:val>
            <c:numRef>
              <c:f>Hoja1!$B$2:$B$1290</c:f>
              <c:numCache>
                <c:formatCode>0.0</c:formatCode>
                <c:ptCount val="1289"/>
                <c:pt idx="0">
                  <c:v>442.43412249356123</c:v>
                </c:pt>
                <c:pt idx="1">
                  <c:v>429.14386230383263</c:v>
                </c:pt>
                <c:pt idx="2">
                  <c:v>435.04056477709111</c:v>
                </c:pt>
                <c:pt idx="3">
                  <c:v>426.3315888165863</c:v>
                </c:pt>
                <c:pt idx="4">
                  <c:v>425.6512000696718</c:v>
                </c:pt>
                <c:pt idx="5">
                  <c:v>430.18712504910138</c:v>
                </c:pt>
                <c:pt idx="6">
                  <c:v>436.58277927009709</c:v>
                </c:pt>
                <c:pt idx="7">
                  <c:v>436.44670152071427</c:v>
                </c:pt>
                <c:pt idx="8">
                  <c:v>435.04056477709111</c:v>
                </c:pt>
                <c:pt idx="9">
                  <c:v>439.53113050672636</c:v>
                </c:pt>
                <c:pt idx="10">
                  <c:v>441.79909299644117</c:v>
                </c:pt>
                <c:pt idx="11">
                  <c:v>443.97633698656733</c:v>
                </c:pt>
                <c:pt idx="12">
                  <c:v>430.23248429889571</c:v>
                </c:pt>
                <c:pt idx="13">
                  <c:v>430.23248429889571</c:v>
                </c:pt>
                <c:pt idx="14">
                  <c:v>431.32110629395885</c:v>
                </c:pt>
                <c:pt idx="15">
                  <c:v>423.20180058077989</c:v>
                </c:pt>
                <c:pt idx="16">
                  <c:v>425.28832607131744</c:v>
                </c:pt>
                <c:pt idx="17">
                  <c:v>430.45928054786719</c:v>
                </c:pt>
                <c:pt idx="18">
                  <c:v>434.99520552729678</c:v>
                </c:pt>
                <c:pt idx="19">
                  <c:v>440.89190800055525</c:v>
                </c:pt>
                <c:pt idx="20">
                  <c:v>446.35769760076789</c:v>
                </c:pt>
                <c:pt idx="21">
                  <c:v>451.09773920427176</c:v>
                </c:pt>
                <c:pt idx="22">
                  <c:v>451.34721507814044</c:v>
                </c:pt>
                <c:pt idx="23">
                  <c:v>452.95746844583789</c:v>
                </c:pt>
                <c:pt idx="24">
                  <c:v>460.16958916313098</c:v>
                </c:pt>
                <c:pt idx="25">
                  <c:v>450.44003008225451</c:v>
                </c:pt>
                <c:pt idx="26">
                  <c:v>453.59249794295806</c:v>
                </c:pt>
                <c:pt idx="27">
                  <c:v>447.94527134356821</c:v>
                </c:pt>
                <c:pt idx="28">
                  <c:v>449.98643758431155</c:v>
                </c:pt>
                <c:pt idx="29">
                  <c:v>460.3056669125138</c:v>
                </c:pt>
                <c:pt idx="30">
                  <c:v>458.42325804605053</c:v>
                </c:pt>
                <c:pt idx="31">
                  <c:v>450.19055420838583</c:v>
                </c:pt>
                <c:pt idx="32">
                  <c:v>444.5206479840989</c:v>
                </c:pt>
                <c:pt idx="33">
                  <c:v>444.79280348286466</c:v>
                </c:pt>
                <c:pt idx="34">
                  <c:v>445.8587458530306</c:v>
                </c:pt>
                <c:pt idx="35">
                  <c:v>437.94355676392598</c:v>
                </c:pt>
                <c:pt idx="36">
                  <c:v>430.50463979766153</c:v>
                </c:pt>
                <c:pt idx="37">
                  <c:v>428.19131805815243</c:v>
                </c:pt>
                <c:pt idx="38">
                  <c:v>439.98472300466932</c:v>
                </c:pt>
                <c:pt idx="39">
                  <c:v>447.12880484727089</c:v>
                </c:pt>
                <c:pt idx="40">
                  <c:v>449.41944696188284</c:v>
                </c:pt>
                <c:pt idx="41">
                  <c:v>445.45051260488196</c:v>
                </c:pt>
                <c:pt idx="42">
                  <c:v>448.58030084068838</c:v>
                </c:pt>
                <c:pt idx="43">
                  <c:v>452.25440007402631</c:v>
                </c:pt>
                <c:pt idx="44">
                  <c:v>446.35769760076789</c:v>
                </c:pt>
                <c:pt idx="45">
                  <c:v>427.28413306226651</c:v>
                </c:pt>
                <c:pt idx="46">
                  <c:v>435.9023905231827</c:v>
                </c:pt>
                <c:pt idx="47">
                  <c:v>417.10098148344707</c:v>
                </c:pt>
                <c:pt idx="48">
                  <c:v>410.41049213878847</c:v>
                </c:pt>
                <c:pt idx="49">
                  <c:v>417.55457398139004</c:v>
                </c:pt>
                <c:pt idx="50">
                  <c:v>407.32606315277638</c:v>
                </c:pt>
                <c:pt idx="51">
                  <c:v>424.3131022007401</c:v>
                </c:pt>
                <c:pt idx="52">
                  <c:v>428.19131805815243</c:v>
                </c:pt>
                <c:pt idx="53">
                  <c:v>432.04685429066751</c:v>
                </c:pt>
                <c:pt idx="54">
                  <c:v>431.77469879190176</c:v>
                </c:pt>
                <c:pt idx="55">
                  <c:v>428.6449105560954</c:v>
                </c:pt>
                <c:pt idx="56">
                  <c:v>440.16616000384647</c:v>
                </c:pt>
                <c:pt idx="57">
                  <c:v>439.78060638059497</c:v>
                </c:pt>
                <c:pt idx="58">
                  <c:v>440.66511175158371</c:v>
                </c:pt>
                <c:pt idx="59">
                  <c:v>432.95403928655344</c:v>
                </c:pt>
                <c:pt idx="60">
                  <c:v>428.6449105560954</c:v>
                </c:pt>
                <c:pt idx="61">
                  <c:v>431.79737841679895</c:v>
                </c:pt>
                <c:pt idx="62">
                  <c:v>426.35426844148344</c:v>
                </c:pt>
                <c:pt idx="63">
                  <c:v>423.47395607954564</c:v>
                </c:pt>
                <c:pt idx="64">
                  <c:v>427.28413306226651</c:v>
                </c:pt>
                <c:pt idx="65">
                  <c:v>419.64109947192759</c:v>
                </c:pt>
                <c:pt idx="66">
                  <c:v>429.80157142584989</c:v>
                </c:pt>
                <c:pt idx="67">
                  <c:v>439.84864525528644</c:v>
                </c:pt>
                <c:pt idx="68">
                  <c:v>445.56391072936765</c:v>
                </c:pt>
                <c:pt idx="69">
                  <c:v>443.68150186290444</c:v>
                </c:pt>
                <c:pt idx="70">
                  <c:v>438.64662513573762</c:v>
                </c:pt>
                <c:pt idx="71">
                  <c:v>436.60545889499429</c:v>
                </c:pt>
                <c:pt idx="72">
                  <c:v>423.04304320649982</c:v>
                </c:pt>
                <c:pt idx="73">
                  <c:v>427.28413306226651</c:v>
                </c:pt>
                <c:pt idx="74">
                  <c:v>424.40382070032871</c:v>
                </c:pt>
                <c:pt idx="75">
                  <c:v>420.8884788412708</c:v>
                </c:pt>
                <c:pt idx="76">
                  <c:v>428.66759018099253</c:v>
                </c:pt>
                <c:pt idx="77">
                  <c:v>435.94774977297692</c:v>
                </c:pt>
                <c:pt idx="79">
                  <c:v>428.89438642996396</c:v>
                </c:pt>
                <c:pt idx="80">
                  <c:v>424.04094670197435</c:v>
                </c:pt>
                <c:pt idx="81">
                  <c:v>425.03885019744888</c:v>
                </c:pt>
                <c:pt idx="84">
                  <c:v>419.3462643482647</c:v>
                </c:pt>
                <c:pt idx="85">
                  <c:v>416.01235948838394</c:v>
                </c:pt>
                <c:pt idx="86">
                  <c:v>398.7531649416544</c:v>
                </c:pt>
                <c:pt idx="87">
                  <c:v>398.70780569186013</c:v>
                </c:pt>
                <c:pt idx="88">
                  <c:v>404.06019716758703</c:v>
                </c:pt>
                <c:pt idx="89">
                  <c:v>405.30757653693018</c:v>
                </c:pt>
                <c:pt idx="90">
                  <c:v>396.91611532498541</c:v>
                </c:pt>
                <c:pt idx="91">
                  <c:v>387.20923586900614</c:v>
                </c:pt>
                <c:pt idx="92">
                  <c:v>401.74687542807794</c:v>
                </c:pt>
                <c:pt idx="93">
                  <c:v>395.07906570831648</c:v>
                </c:pt>
                <c:pt idx="94">
                  <c:v>402.0190309268437</c:v>
                </c:pt>
                <c:pt idx="95">
                  <c:v>403.53856579495266</c:v>
                </c:pt>
                <c:pt idx="96">
                  <c:v>408.5280832723252</c:v>
                </c:pt>
                <c:pt idx="97">
                  <c:v>407.43946127726207</c:v>
                </c:pt>
                <c:pt idx="98">
                  <c:v>400.56753493342632</c:v>
                </c:pt>
                <c:pt idx="99">
                  <c:v>402.85817704803816</c:v>
                </c:pt>
                <c:pt idx="100">
                  <c:v>409.09507389475391</c:v>
                </c:pt>
                <c:pt idx="101">
                  <c:v>407.80233527561649</c:v>
                </c:pt>
                <c:pt idx="102">
                  <c:v>415.08249486760087</c:v>
                </c:pt>
                <c:pt idx="104">
                  <c:v>418.41639972748163</c:v>
                </c:pt>
                <c:pt idx="105">
                  <c:v>415.9896798634868</c:v>
                </c:pt>
                <c:pt idx="106">
                  <c:v>409.93422001594837</c:v>
                </c:pt>
                <c:pt idx="107">
                  <c:v>408.95899614537097</c:v>
                </c:pt>
                <c:pt idx="108">
                  <c:v>412.67845462850323</c:v>
                </c:pt>
                <c:pt idx="109">
                  <c:v>412.40629912973742</c:v>
                </c:pt>
                <c:pt idx="110">
                  <c:v>406.89515027973056</c:v>
                </c:pt>
                <c:pt idx="111">
                  <c:v>405.98796528384457</c:v>
                </c:pt>
                <c:pt idx="112">
                  <c:v>408.25592777355945</c:v>
                </c:pt>
                <c:pt idx="113">
                  <c:v>403.47052692026119</c:v>
                </c:pt>
                <c:pt idx="114">
                  <c:v>408.68684064660516</c:v>
                </c:pt>
                <c:pt idx="115">
                  <c:v>414.90105786842372</c:v>
                </c:pt>
                <c:pt idx="116">
                  <c:v>408.75487952129663</c:v>
                </c:pt>
                <c:pt idx="117">
                  <c:v>412.83721200278325</c:v>
                </c:pt>
                <c:pt idx="118">
                  <c:v>405.28489691203299</c:v>
                </c:pt>
                <c:pt idx="119">
                  <c:v>410.95480313632004</c:v>
                </c:pt>
                <c:pt idx="120">
                  <c:v>408.55076289722234</c:v>
                </c:pt>
                <c:pt idx="121">
                  <c:v>407.66625752623355</c:v>
                </c:pt>
                <c:pt idx="122">
                  <c:v>410.27441438940554</c:v>
                </c:pt>
                <c:pt idx="123">
                  <c:v>408.25592777355945</c:v>
                </c:pt>
                <c:pt idx="124">
                  <c:v>408.02913152458791</c:v>
                </c:pt>
                <c:pt idx="125">
                  <c:v>416.21647611245828</c:v>
                </c:pt>
                <c:pt idx="126">
                  <c:v>421.88638233674533</c:v>
                </c:pt>
                <c:pt idx="127">
                  <c:v>426.60374431535206</c:v>
                </c:pt>
                <c:pt idx="128">
                  <c:v>426.87589981411787</c:v>
                </c:pt>
                <c:pt idx="129">
                  <c:v>426.6264239402492</c:v>
                </c:pt>
                <c:pt idx="130">
                  <c:v>427.82844405979807</c:v>
                </c:pt>
                <c:pt idx="131">
                  <c:v>432.59116528819908</c:v>
                </c:pt>
                <c:pt idx="132">
                  <c:v>440.5743932519951</c:v>
                </c:pt>
                <c:pt idx="133">
                  <c:v>433.45299103429073</c:v>
                </c:pt>
                <c:pt idx="134">
                  <c:v>430.93555267070724</c:v>
                </c:pt>
                <c:pt idx="135">
                  <c:v>438.10231413820605</c:v>
                </c:pt>
                <c:pt idx="136">
                  <c:v>437.94355676392598</c:v>
                </c:pt>
                <c:pt idx="137">
                  <c:v>435.72095352400549</c:v>
                </c:pt>
                <c:pt idx="138">
                  <c:v>439.53113050672636</c:v>
                </c:pt>
                <c:pt idx="139">
                  <c:v>442.47948174335556</c:v>
                </c:pt>
                <c:pt idx="140">
                  <c:v>442.95575386619566</c:v>
                </c:pt>
                <c:pt idx="141">
                  <c:v>435.76631277379983</c:v>
                </c:pt>
                <c:pt idx="142">
                  <c:v>439.89400450508072</c:v>
                </c:pt>
                <c:pt idx="143">
                  <c:v>436.35598302112567</c:v>
                </c:pt>
                <c:pt idx="144">
                  <c:v>443.52274448862437</c:v>
                </c:pt>
                <c:pt idx="145">
                  <c:v>441.61765599726397</c:v>
                </c:pt>
                <c:pt idx="146">
                  <c:v>441.98052999561838</c:v>
                </c:pt>
                <c:pt idx="147">
                  <c:v>441.39085974829248</c:v>
                </c:pt>
                <c:pt idx="148">
                  <c:v>445.74534772854486</c:v>
                </c:pt>
                <c:pt idx="149">
                  <c:v>436.80957551906863</c:v>
                </c:pt>
                <c:pt idx="150">
                  <c:v>433.15815591062778</c:v>
                </c:pt>
                <c:pt idx="151">
                  <c:v>428.735629055684</c:v>
                </c:pt>
                <c:pt idx="152">
                  <c:v>416.8515056095784</c:v>
                </c:pt>
                <c:pt idx="153">
                  <c:v>410.00225889063972</c:v>
                </c:pt>
                <c:pt idx="154">
                  <c:v>401.47471992931213</c:v>
                </c:pt>
                <c:pt idx="155">
                  <c:v>401.58811805379793</c:v>
                </c:pt>
                <c:pt idx="156">
                  <c:v>399.2521166893917</c:v>
                </c:pt>
                <c:pt idx="157">
                  <c:v>401.47471992931213</c:v>
                </c:pt>
                <c:pt idx="158">
                  <c:v>400.25002018486617</c:v>
                </c:pt>
                <c:pt idx="159">
                  <c:v>397.3470281980313</c:v>
                </c:pt>
                <c:pt idx="160">
                  <c:v>402.33654567540384</c:v>
                </c:pt>
                <c:pt idx="161">
                  <c:v>399.29747593918597</c:v>
                </c:pt>
                <c:pt idx="162">
                  <c:v>398.32225206860863</c:v>
                </c:pt>
                <c:pt idx="163">
                  <c:v>399.68302956243747</c:v>
                </c:pt>
                <c:pt idx="164">
                  <c:v>401.81491430276941</c:v>
                </c:pt>
                <c:pt idx="165">
                  <c:v>400.61289418322053</c:v>
                </c:pt>
                <c:pt idx="166">
                  <c:v>404.0375175426899</c:v>
                </c:pt>
                <c:pt idx="167">
                  <c:v>412.33826025504607</c:v>
                </c:pt>
                <c:pt idx="169">
                  <c:v>414.03923212233212</c:v>
                </c:pt>
                <c:pt idx="170">
                  <c:v>417.16902035813854</c:v>
                </c:pt>
                <c:pt idx="171">
                  <c:v>412.81453237788617</c:v>
                </c:pt>
                <c:pt idx="172">
                  <c:v>410.52389026327421</c:v>
                </c:pt>
                <c:pt idx="173">
                  <c:v>405.28489691203299</c:v>
                </c:pt>
                <c:pt idx="174">
                  <c:v>404.58182854022147</c:v>
                </c:pt>
                <c:pt idx="175">
                  <c:v>406.89515027973056</c:v>
                </c:pt>
                <c:pt idx="176">
                  <c:v>410.09297739022833</c:v>
                </c:pt>
                <c:pt idx="177">
                  <c:v>403.90143979330702</c:v>
                </c:pt>
                <c:pt idx="178">
                  <c:v>392.15339409658441</c:v>
                </c:pt>
                <c:pt idx="179">
                  <c:v>397.2336300735455</c:v>
                </c:pt>
                <c:pt idx="180">
                  <c:v>395.50997858136225</c:v>
                </c:pt>
                <c:pt idx="181">
                  <c:v>395.05638608341928</c:v>
                </c:pt>
                <c:pt idx="182">
                  <c:v>398.32225206860863</c:v>
                </c:pt>
                <c:pt idx="183">
                  <c:v>381.69808701899922</c:v>
                </c:pt>
                <c:pt idx="184">
                  <c:v>380.90430014759903</c:v>
                </c:pt>
                <c:pt idx="185">
                  <c:v>372.89839255890581</c:v>
                </c:pt>
                <c:pt idx="186">
                  <c:v>353.37123552246146</c:v>
                </c:pt>
                <c:pt idx="187">
                  <c:v>330.66893100041642</c:v>
                </c:pt>
                <c:pt idx="188">
                  <c:v>327.76593901358149</c:v>
                </c:pt>
                <c:pt idx="189">
                  <c:v>341.46443245145883</c:v>
                </c:pt>
                <c:pt idx="190">
                  <c:v>336.38419647449768</c:v>
                </c:pt>
                <c:pt idx="191">
                  <c:v>316.40344694011037</c:v>
                </c:pt>
                <c:pt idx="192">
                  <c:v>323.47948990802053</c:v>
                </c:pt>
                <c:pt idx="193">
                  <c:v>308.21610235224</c:v>
                </c:pt>
                <c:pt idx="194">
                  <c:v>307.76250985429704</c:v>
                </c:pt>
                <c:pt idx="195">
                  <c:v>311.1871332137664</c:v>
                </c:pt>
                <c:pt idx="196">
                  <c:v>321.84655691542588</c:v>
                </c:pt>
                <c:pt idx="197">
                  <c:v>328.85456100864457</c:v>
                </c:pt>
                <c:pt idx="198">
                  <c:v>331.75755299547956</c:v>
                </c:pt>
                <c:pt idx="199">
                  <c:v>327.28966689074139</c:v>
                </c:pt>
                <c:pt idx="200">
                  <c:v>336.52027422388062</c:v>
                </c:pt>
                <c:pt idx="201">
                  <c:v>332.39258249259962</c:v>
                </c:pt>
                <c:pt idx="202">
                  <c:v>340.21705308211568</c:v>
                </c:pt>
                <c:pt idx="203">
                  <c:v>342.73449144569912</c:v>
                </c:pt>
                <c:pt idx="204">
                  <c:v>329.80710525432482</c:v>
                </c:pt>
                <c:pt idx="205">
                  <c:v>331.371999372228</c:v>
                </c:pt>
                <c:pt idx="206">
                  <c:v>313.72725120224698</c:v>
                </c:pt>
                <c:pt idx="207">
                  <c:v>320.32702204731697</c:v>
                </c:pt>
                <c:pt idx="208">
                  <c:v>334.77394310680017</c:v>
                </c:pt>
                <c:pt idx="209">
                  <c:v>344.2993855636023</c:v>
                </c:pt>
                <c:pt idx="210">
                  <c:v>350.19608803686077</c:v>
                </c:pt>
                <c:pt idx="211">
                  <c:v>364.6883683461383</c:v>
                </c:pt>
                <c:pt idx="212">
                  <c:v>362.03485223317193</c:v>
                </c:pt>
                <c:pt idx="213">
                  <c:v>358.36075299983401</c:v>
                </c:pt>
                <c:pt idx="214">
                  <c:v>347.45185342430591</c:v>
                </c:pt>
                <c:pt idx="215">
                  <c:v>358.88238437246838</c:v>
                </c:pt>
                <c:pt idx="216">
                  <c:v>355.84331463625062</c:v>
                </c:pt>
                <c:pt idx="217">
                  <c:v>359.69885086876576</c:v>
                </c:pt>
                <c:pt idx="218">
                  <c:v>352.69084677554707</c:v>
                </c:pt>
                <c:pt idx="219">
                  <c:v>354.73201301629035</c:v>
                </c:pt>
                <c:pt idx="220">
                  <c:v>347.99616442183742</c:v>
                </c:pt>
                <c:pt idx="221">
                  <c:v>338.19856646626954</c:v>
                </c:pt>
                <c:pt idx="222">
                  <c:v>337.97177021729806</c:v>
                </c:pt>
                <c:pt idx="223">
                  <c:v>350.69503978459807</c:v>
                </c:pt>
                <c:pt idx="224">
                  <c:v>346.18179443006557</c:v>
                </c:pt>
                <c:pt idx="225">
                  <c:v>344.36742443829377</c:v>
                </c:pt>
                <c:pt idx="226">
                  <c:v>340.26241233190996</c:v>
                </c:pt>
                <c:pt idx="227">
                  <c:v>343.93651156524794</c:v>
                </c:pt>
                <c:pt idx="228">
                  <c:v>331.16788274815366</c:v>
                </c:pt>
                <c:pt idx="229">
                  <c:v>335.56772997820036</c:v>
                </c:pt>
                <c:pt idx="230">
                  <c:v>325.49797652386673</c:v>
                </c:pt>
                <c:pt idx="231">
                  <c:v>329.82978487922196</c:v>
                </c:pt>
                <c:pt idx="232">
                  <c:v>326.42784114464979</c:v>
                </c:pt>
                <c:pt idx="233">
                  <c:v>334.79662273169731</c:v>
                </c:pt>
                <c:pt idx="234">
                  <c:v>337.83569246791518</c:v>
                </c:pt>
                <c:pt idx="235">
                  <c:v>335.90792435165758</c:v>
                </c:pt>
                <c:pt idx="236">
                  <c:v>353.84750764530162</c:v>
                </c:pt>
                <c:pt idx="237">
                  <c:v>357.8844808769939</c:v>
                </c:pt>
                <c:pt idx="238">
                  <c:v>355.84331463625062</c:v>
                </c:pt>
                <c:pt idx="239">
                  <c:v>352.25993390250119</c:v>
                </c:pt>
                <c:pt idx="240">
                  <c:v>354.21038164365592</c:v>
                </c:pt>
                <c:pt idx="241">
                  <c:v>353.82482802040442</c:v>
                </c:pt>
                <c:pt idx="242">
                  <c:v>353.82482802040442</c:v>
                </c:pt>
                <c:pt idx="243">
                  <c:v>345.2519298092825</c:v>
                </c:pt>
                <c:pt idx="244">
                  <c:v>344.09526893952795</c:v>
                </c:pt>
                <c:pt idx="245">
                  <c:v>333.39048598807415</c:v>
                </c:pt>
                <c:pt idx="246">
                  <c:v>329.48959050576474</c:v>
                </c:pt>
                <c:pt idx="247">
                  <c:v>332.93689349013118</c:v>
                </c:pt>
                <c:pt idx="248">
                  <c:v>330.51017362613641</c:v>
                </c:pt>
                <c:pt idx="249">
                  <c:v>329.98854225350203</c:v>
                </c:pt>
                <c:pt idx="250">
                  <c:v>336.36151684960055</c:v>
                </c:pt>
                <c:pt idx="251">
                  <c:v>339.85417908376132</c:v>
                </c:pt>
                <c:pt idx="252">
                  <c:v>344.27670593870516</c:v>
                </c:pt>
                <c:pt idx="255">
                  <c:v>340.28509195680715</c:v>
                </c:pt>
                <c:pt idx="256">
                  <c:v>334.38838948354868</c:v>
                </c:pt>
                <c:pt idx="257">
                  <c:v>342.64377294611052</c:v>
                </c:pt>
                <c:pt idx="259">
                  <c:v>347.49721267410018</c:v>
                </c:pt>
                <c:pt idx="260">
                  <c:v>347.08897942595149</c:v>
                </c:pt>
                <c:pt idx="261">
                  <c:v>338.87895521318393</c:v>
                </c:pt>
                <c:pt idx="262">
                  <c:v>340.87476220413299</c:v>
                </c:pt>
                <c:pt idx="263">
                  <c:v>340.33045120660142</c:v>
                </c:pt>
                <c:pt idx="264">
                  <c:v>346.59002767821426</c:v>
                </c:pt>
                <c:pt idx="265">
                  <c:v>348.78995129323755</c:v>
                </c:pt>
                <c:pt idx="266">
                  <c:v>360.42459886547448</c:v>
                </c:pt>
                <c:pt idx="267">
                  <c:v>361.30910423646327</c:v>
                </c:pt>
                <c:pt idx="268">
                  <c:v>363.82654260004665</c:v>
                </c:pt>
                <c:pt idx="269">
                  <c:v>371.26545956631116</c:v>
                </c:pt>
                <c:pt idx="270">
                  <c:v>369.9500413222766</c:v>
                </c:pt>
                <c:pt idx="271">
                  <c:v>378.77241540726715</c:v>
                </c:pt>
                <c:pt idx="272">
                  <c:v>373.32930543195164</c:v>
                </c:pt>
                <c:pt idx="273">
                  <c:v>377.97862853586696</c:v>
                </c:pt>
                <c:pt idx="274">
                  <c:v>374.98491804944342</c:v>
                </c:pt>
                <c:pt idx="275">
                  <c:v>375.16635504862063</c:v>
                </c:pt>
                <c:pt idx="276">
                  <c:v>388.27517823917208</c:v>
                </c:pt>
                <c:pt idx="277">
                  <c:v>390.5431407288869</c:v>
                </c:pt>
                <c:pt idx="278">
                  <c:v>380.97233902229044</c:v>
                </c:pt>
                <c:pt idx="279">
                  <c:v>384.89591412949704</c:v>
                </c:pt>
                <c:pt idx="280">
                  <c:v>378.81777465706142</c:v>
                </c:pt>
                <c:pt idx="281">
                  <c:v>378.25078403463272</c:v>
                </c:pt>
                <c:pt idx="282">
                  <c:v>377.38895828854112</c:v>
                </c:pt>
                <c:pt idx="283">
                  <c:v>383.87533100912543</c:v>
                </c:pt>
                <c:pt idx="284">
                  <c:v>378.0920266603527</c:v>
                </c:pt>
                <c:pt idx="285">
                  <c:v>389.45451873382376</c:v>
                </c:pt>
                <c:pt idx="286">
                  <c:v>386.48348787229742</c:v>
                </c:pt>
                <c:pt idx="287">
                  <c:v>389.68131498279524</c:v>
                </c:pt>
                <c:pt idx="288">
                  <c:v>386.09793424904592</c:v>
                </c:pt>
                <c:pt idx="289">
                  <c:v>381.24449452105625</c:v>
                </c:pt>
                <c:pt idx="290">
                  <c:v>380.81358164801043</c:v>
                </c:pt>
                <c:pt idx="291">
                  <c:v>372.37676118627144</c:v>
                </c:pt>
                <c:pt idx="292">
                  <c:v>379.65692077825588</c:v>
                </c:pt>
                <c:pt idx="293">
                  <c:v>373.48806280623165</c:v>
                </c:pt>
                <c:pt idx="294">
                  <c:v>377.6157545375126</c:v>
                </c:pt>
                <c:pt idx="295">
                  <c:v>380.60946502393608</c:v>
                </c:pt>
                <c:pt idx="296">
                  <c:v>381.38057227043913</c:v>
                </c:pt>
                <c:pt idx="297">
                  <c:v>382.8774275136509</c:v>
                </c:pt>
                <c:pt idx="298">
                  <c:v>382.65063126467942</c:v>
                </c:pt>
                <c:pt idx="299">
                  <c:v>392.72038471901311</c:v>
                </c:pt>
                <c:pt idx="300">
                  <c:v>389.40915948402949</c:v>
                </c:pt>
                <c:pt idx="301">
                  <c:v>388.72877073711504</c:v>
                </c:pt>
                <c:pt idx="302">
                  <c:v>388.95556698608652</c:v>
                </c:pt>
                <c:pt idx="303">
                  <c:v>385.64434175110296</c:v>
                </c:pt>
                <c:pt idx="304">
                  <c:v>378.0920266603527</c:v>
                </c:pt>
                <c:pt idx="305">
                  <c:v>374.71276255067767</c:v>
                </c:pt>
                <c:pt idx="306">
                  <c:v>380.56410577414181</c:v>
                </c:pt>
                <c:pt idx="307">
                  <c:v>380.58678539903894</c:v>
                </c:pt>
                <c:pt idx="308">
                  <c:v>381.08573714677624</c:v>
                </c:pt>
                <c:pt idx="309">
                  <c:v>386.91440074534319</c:v>
                </c:pt>
                <c:pt idx="310">
                  <c:v>384.10212725809691</c:v>
                </c:pt>
                <c:pt idx="311">
                  <c:v>385.12271037846853</c:v>
                </c:pt>
                <c:pt idx="312">
                  <c:v>391.019412851727</c:v>
                </c:pt>
                <c:pt idx="313">
                  <c:v>388.95556698608652</c:v>
                </c:pt>
                <c:pt idx="314">
                  <c:v>382.69599051447369</c:v>
                </c:pt>
                <c:pt idx="315">
                  <c:v>384.2155253825826</c:v>
                </c:pt>
                <c:pt idx="316">
                  <c:v>377.38895828854112</c:v>
                </c:pt>
                <c:pt idx="317">
                  <c:v>381.04037789698191</c:v>
                </c:pt>
                <c:pt idx="318">
                  <c:v>384.87323450459991</c:v>
                </c:pt>
                <c:pt idx="319">
                  <c:v>386.09793424904592</c:v>
                </c:pt>
                <c:pt idx="320">
                  <c:v>384.66911788052556</c:v>
                </c:pt>
                <c:pt idx="321">
                  <c:v>379.20332828031292</c:v>
                </c:pt>
                <c:pt idx="322">
                  <c:v>384.64643825562842</c:v>
                </c:pt>
                <c:pt idx="323">
                  <c:v>384.64643825562842</c:v>
                </c:pt>
                <c:pt idx="324">
                  <c:v>388.97824661098366</c:v>
                </c:pt>
                <c:pt idx="325">
                  <c:v>383.353699636491</c:v>
                </c:pt>
                <c:pt idx="326">
                  <c:v>379.45280415418154</c:v>
                </c:pt>
                <c:pt idx="328">
                  <c:v>374.48596630170618</c:v>
                </c:pt>
                <c:pt idx="329">
                  <c:v>368.09031208071048</c:v>
                </c:pt>
                <c:pt idx="330">
                  <c:v>371.26545956631116</c:v>
                </c:pt>
                <c:pt idx="331">
                  <c:v>370.38095419532243</c:v>
                </c:pt>
                <c:pt idx="332">
                  <c:v>365.32339784325842</c:v>
                </c:pt>
                <c:pt idx="333">
                  <c:v>367.43260295869317</c:v>
                </c:pt>
                <c:pt idx="334">
                  <c:v>366.72953458688158</c:v>
                </c:pt>
                <c:pt idx="335">
                  <c:v>364.93784422000692</c:v>
                </c:pt>
                <c:pt idx="336">
                  <c:v>368.33978795457909</c:v>
                </c:pt>
                <c:pt idx="337">
                  <c:v>368.54390457865344</c:v>
                </c:pt>
                <c:pt idx="338">
                  <c:v>371.6736928144598</c:v>
                </c:pt>
                <c:pt idx="339">
                  <c:v>375.82406417063788</c:v>
                </c:pt>
                <c:pt idx="340">
                  <c:v>379.02189128113577</c:v>
                </c:pt>
                <c:pt idx="341">
                  <c:v>382.99082563813664</c:v>
                </c:pt>
                <c:pt idx="342">
                  <c:v>386.89172112044605</c:v>
                </c:pt>
                <c:pt idx="343">
                  <c:v>386.82368224575458</c:v>
                </c:pt>
                <c:pt idx="344">
                  <c:v>381.06305752187905</c:v>
                </c:pt>
                <c:pt idx="345">
                  <c:v>377.29823978895251</c:v>
                </c:pt>
                <c:pt idx="346">
                  <c:v>376.30033629347798</c:v>
                </c:pt>
                <c:pt idx="348">
                  <c:v>373.48806280623165</c:v>
                </c:pt>
                <c:pt idx="349">
                  <c:v>366.91097158605879</c:v>
                </c:pt>
                <c:pt idx="350">
                  <c:v>371.74173168915127</c:v>
                </c:pt>
                <c:pt idx="351">
                  <c:v>366.5027383379101</c:v>
                </c:pt>
                <c:pt idx="352">
                  <c:v>361.96681335848052</c:v>
                </c:pt>
                <c:pt idx="353">
                  <c:v>356.25154788439926</c:v>
                </c:pt>
                <c:pt idx="354">
                  <c:v>349.71981591402061</c:v>
                </c:pt>
                <c:pt idx="355">
                  <c:v>349.62909741443207</c:v>
                </c:pt>
                <c:pt idx="356">
                  <c:v>353.59803177143294</c:v>
                </c:pt>
                <c:pt idx="357">
                  <c:v>353.82482802040442</c:v>
                </c:pt>
                <c:pt idx="358">
                  <c:v>352.66816715064988</c:v>
                </c:pt>
                <c:pt idx="359">
                  <c:v>346.11375555537415</c:v>
                </c:pt>
                <c:pt idx="360">
                  <c:v>347.47453304920299</c:v>
                </c:pt>
                <c:pt idx="361">
                  <c:v>349.06210679200336</c:v>
                </c:pt>
                <c:pt idx="362">
                  <c:v>351.08059340784956</c:v>
                </c:pt>
                <c:pt idx="363">
                  <c:v>348.60851429406046</c:v>
                </c:pt>
                <c:pt idx="364">
                  <c:v>342.23553969796183</c:v>
                </c:pt>
                <c:pt idx="365">
                  <c:v>340.9654807037216</c:v>
                </c:pt>
                <c:pt idx="366">
                  <c:v>334.02551548519432</c:v>
                </c:pt>
                <c:pt idx="369">
                  <c:v>338.35732384054955</c:v>
                </c:pt>
                <c:pt idx="370">
                  <c:v>339.30986808622976</c:v>
                </c:pt>
                <c:pt idx="371">
                  <c:v>328.92259988333603</c:v>
                </c:pt>
                <c:pt idx="372">
                  <c:v>335.47701147861176</c:v>
                </c:pt>
                <c:pt idx="373">
                  <c:v>334.93270048108019</c:v>
                </c:pt>
                <c:pt idx="374">
                  <c:v>335.54505035330322</c:v>
                </c:pt>
                <c:pt idx="375">
                  <c:v>334.59250610762302</c:v>
                </c:pt>
                <c:pt idx="376">
                  <c:v>341.14691770289875</c:v>
                </c:pt>
                <c:pt idx="377">
                  <c:v>339.08307183725827</c:v>
                </c:pt>
                <c:pt idx="378">
                  <c:v>340.44384933108716</c:v>
                </c:pt>
                <c:pt idx="379">
                  <c:v>342.71181182080193</c:v>
                </c:pt>
                <c:pt idx="380">
                  <c:v>336.83778897244065</c:v>
                </c:pt>
                <c:pt idx="381">
                  <c:v>332.02970849424531</c:v>
                </c:pt>
                <c:pt idx="382">
                  <c:v>333.03895180216836</c:v>
                </c:pt>
                <c:pt idx="383">
                  <c:v>333.25440823869127</c:v>
                </c:pt>
                <c:pt idx="384">
                  <c:v>333.57192298725136</c:v>
                </c:pt>
                <c:pt idx="385">
                  <c:v>336.61099272346917</c:v>
                </c:pt>
                <c:pt idx="386">
                  <c:v>344.93441506072247</c:v>
                </c:pt>
                <c:pt idx="387">
                  <c:v>346.88499999999999</c:v>
                </c:pt>
                <c:pt idx="388">
                  <c:v>352.75888565023848</c:v>
                </c:pt>
                <c:pt idx="389">
                  <c:v>349.06210679200336</c:v>
                </c:pt>
                <c:pt idx="390">
                  <c:v>352.0558172784269</c:v>
                </c:pt>
                <c:pt idx="391">
                  <c:v>344.73029843664813</c:v>
                </c:pt>
                <c:pt idx="392">
                  <c:v>341.12423807800161</c:v>
                </c:pt>
                <c:pt idx="393">
                  <c:v>342.73449144569912</c:v>
                </c:pt>
                <c:pt idx="394">
                  <c:v>341.35103432697309</c:v>
                </c:pt>
                <c:pt idx="395">
                  <c:v>340.64796595516151</c:v>
                </c:pt>
                <c:pt idx="396">
                  <c:v>348.78995129323755</c:v>
                </c:pt>
                <c:pt idx="397">
                  <c:v>346.36323142924277</c:v>
                </c:pt>
                <c:pt idx="398">
                  <c:v>347.95080517204309</c:v>
                </c:pt>
                <c:pt idx="399">
                  <c:v>344.54886143747092</c:v>
                </c:pt>
                <c:pt idx="400">
                  <c:v>352.21457465270692</c:v>
                </c:pt>
                <c:pt idx="401">
                  <c:v>345.86427968150548</c:v>
                </c:pt>
                <c:pt idx="402">
                  <c:v>335.06877823046312</c:v>
                </c:pt>
                <c:pt idx="403">
                  <c:v>335.47701147861176</c:v>
                </c:pt>
                <c:pt idx="404">
                  <c:v>337.51817771935509</c:v>
                </c:pt>
                <c:pt idx="405">
                  <c:v>340.67064558005865</c:v>
                </c:pt>
                <c:pt idx="406">
                  <c:v>342.68913219590485</c:v>
                </c:pt>
                <c:pt idx="407">
                  <c:v>341.10155845310442</c:v>
                </c:pt>
                <c:pt idx="408">
                  <c:v>343.86847269055647</c:v>
                </c:pt>
                <c:pt idx="409">
                  <c:v>340.19437345721855</c:v>
                </c:pt>
                <c:pt idx="410">
                  <c:v>335.04609860556599</c:v>
                </c:pt>
                <c:pt idx="411">
                  <c:v>332.34722324280534</c:v>
                </c:pt>
                <c:pt idx="412">
                  <c:v>335.65844847778897</c:v>
                </c:pt>
                <c:pt idx="413">
                  <c:v>343.23344319343636</c:v>
                </c:pt>
                <c:pt idx="414">
                  <c:v>341.35103432697309</c:v>
                </c:pt>
                <c:pt idx="415">
                  <c:v>339.9902568331442</c:v>
                </c:pt>
                <c:pt idx="416">
                  <c:v>337.04190559651499</c:v>
                </c:pt>
                <c:pt idx="417">
                  <c:v>336.86046859733779</c:v>
                </c:pt>
                <c:pt idx="418">
                  <c:v>335.97596322634905</c:v>
                </c:pt>
                <c:pt idx="419">
                  <c:v>335.02341898066879</c:v>
                </c:pt>
                <c:pt idx="420">
                  <c:v>335.02341898066879</c:v>
                </c:pt>
                <c:pt idx="421">
                  <c:v>340.01293645804134</c:v>
                </c:pt>
                <c:pt idx="422">
                  <c:v>337.15530372100073</c:v>
                </c:pt>
                <c:pt idx="423">
                  <c:v>340.64796595516151</c:v>
                </c:pt>
                <c:pt idx="424">
                  <c:v>343.4375598175107</c:v>
                </c:pt>
                <c:pt idx="425">
                  <c:v>347.79204779776308</c:v>
                </c:pt>
                <c:pt idx="426">
                  <c:v>344.75297806154526</c:v>
                </c:pt>
                <c:pt idx="428">
                  <c:v>345.00245393541388</c:v>
                </c:pt>
                <c:pt idx="429">
                  <c:v>341.30567507717882</c:v>
                </c:pt>
                <c:pt idx="430">
                  <c:v>345.22925018438542</c:v>
                </c:pt>
                <c:pt idx="431">
                  <c:v>343.61899681668785</c:v>
                </c:pt>
                <c:pt idx="432">
                  <c:v>346.97558130146575</c:v>
                </c:pt>
                <c:pt idx="433">
                  <c:v>346.56734805331706</c:v>
                </c:pt>
                <c:pt idx="434">
                  <c:v>345.02513356031102</c:v>
                </c:pt>
                <c:pt idx="435">
                  <c:v>347.92812554714601</c:v>
                </c:pt>
                <c:pt idx="436">
                  <c:v>355.79795538645629</c:v>
                </c:pt>
                <c:pt idx="437">
                  <c:v>364.32549434778394</c:v>
                </c:pt>
                <c:pt idx="438">
                  <c:v>366.5027383379101</c:v>
                </c:pt>
                <c:pt idx="439">
                  <c:v>367.43260295869317</c:v>
                </c:pt>
                <c:pt idx="440">
                  <c:v>365.39143671794989</c:v>
                </c:pt>
                <c:pt idx="441">
                  <c:v>381.04037789698191</c:v>
                </c:pt>
                <c:pt idx="442">
                  <c:v>376.16425854409511</c:v>
                </c:pt>
                <c:pt idx="443">
                  <c:v>373.03447030828869</c:v>
                </c:pt>
                <c:pt idx="444">
                  <c:v>377.525036037924</c:v>
                </c:pt>
                <c:pt idx="445">
                  <c:v>372.03656681281416</c:v>
                </c:pt>
                <c:pt idx="446">
                  <c:v>375.66530679635787</c:v>
                </c:pt>
                <c:pt idx="447">
                  <c:v>369.92736169737947</c:v>
                </c:pt>
                <c:pt idx="448">
                  <c:v>373.55610168092312</c:v>
                </c:pt>
                <c:pt idx="449">
                  <c:v>368.79338045252206</c:v>
                </c:pt>
                <c:pt idx="450">
                  <c:v>370.8118670683682</c:v>
                </c:pt>
                <c:pt idx="451">
                  <c:v>375.00759767434056</c:v>
                </c:pt>
                <c:pt idx="452">
                  <c:v>371.56029468997411</c:v>
                </c:pt>
                <c:pt idx="453">
                  <c:v>378.29614328442699</c:v>
                </c:pt>
                <c:pt idx="454">
                  <c:v>375.39315129759211</c:v>
                </c:pt>
                <c:pt idx="455">
                  <c:v>377.6157545375126</c:v>
                </c:pt>
                <c:pt idx="456">
                  <c:v>376.43641404286086</c:v>
                </c:pt>
                <c:pt idx="457">
                  <c:v>368.9067785770078</c:v>
                </c:pt>
                <c:pt idx="458">
                  <c:v>371.17474106672262</c:v>
                </c:pt>
                <c:pt idx="459">
                  <c:v>368.52122495375625</c:v>
                </c:pt>
                <c:pt idx="460">
                  <c:v>372.49015931075718</c:v>
                </c:pt>
                <c:pt idx="461">
                  <c:v>370.99330406754541</c:v>
                </c:pt>
                <c:pt idx="462">
                  <c:v>368.77070082762492</c:v>
                </c:pt>
                <c:pt idx="463">
                  <c:v>369.2923322002593</c:v>
                </c:pt>
                <c:pt idx="464">
                  <c:v>367.97691395622473</c:v>
                </c:pt>
                <c:pt idx="465">
                  <c:v>372.39944081116857</c:v>
                </c:pt>
                <c:pt idx="466">
                  <c:v>368.36246757947623</c:v>
                </c:pt>
                <c:pt idx="467">
                  <c:v>362.12557073276054</c:v>
                </c:pt>
                <c:pt idx="468">
                  <c:v>356.56906263295929</c:v>
                </c:pt>
                <c:pt idx="469">
                  <c:v>356.54638300806221</c:v>
                </c:pt>
                <c:pt idx="470">
                  <c:v>356.16082938481071</c:v>
                </c:pt>
                <c:pt idx="471">
                  <c:v>352.21457465270692</c:v>
                </c:pt>
                <c:pt idx="472">
                  <c:v>350.17340841196358</c:v>
                </c:pt>
                <c:pt idx="473">
                  <c:v>351.98777840373543</c:v>
                </c:pt>
                <c:pt idx="474">
                  <c:v>354.66397414159889</c:v>
                </c:pt>
                <c:pt idx="475">
                  <c:v>354.30110014324453</c:v>
                </c:pt>
                <c:pt idx="476">
                  <c:v>352.23725427760411</c:v>
                </c:pt>
                <c:pt idx="477">
                  <c:v>344.91173543582534</c:v>
                </c:pt>
                <c:pt idx="478">
                  <c:v>347.49721267410018</c:v>
                </c:pt>
                <c:pt idx="479">
                  <c:v>347.20237755043723</c:v>
                </c:pt>
                <c:pt idx="480">
                  <c:v>344.97977431051675</c:v>
                </c:pt>
                <c:pt idx="481">
                  <c:v>342.03142307388754</c:v>
                </c:pt>
                <c:pt idx="482">
                  <c:v>345.93231855619695</c:v>
                </c:pt>
                <c:pt idx="483">
                  <c:v>345.02513356031102</c:v>
                </c:pt>
                <c:pt idx="484">
                  <c:v>346.3178721794485</c:v>
                </c:pt>
                <c:pt idx="485">
                  <c:v>344.97977431051675</c:v>
                </c:pt>
                <c:pt idx="486">
                  <c:v>343.50559869220211</c:v>
                </c:pt>
                <c:pt idx="487">
                  <c:v>347.92812554714601</c:v>
                </c:pt>
                <c:pt idx="488">
                  <c:v>350.67236015970087</c:v>
                </c:pt>
                <c:pt idx="489">
                  <c:v>349.49301966504919</c:v>
                </c:pt>
                <c:pt idx="490">
                  <c:v>349.99197141278643</c:v>
                </c:pt>
                <c:pt idx="491">
                  <c:v>348.17760142101457</c:v>
                </c:pt>
                <c:pt idx="492">
                  <c:v>352.46405052657559</c:v>
                </c:pt>
                <c:pt idx="493">
                  <c:v>353.62071139633014</c:v>
                </c:pt>
                <c:pt idx="494">
                  <c:v>350.17340841196358</c:v>
                </c:pt>
                <c:pt idx="495">
                  <c:v>356.07011088522211</c:v>
                </c:pt>
                <c:pt idx="496">
                  <c:v>360.56067661485736</c:v>
                </c:pt>
                <c:pt idx="497">
                  <c:v>361.76269673440618</c:v>
                </c:pt>
                <c:pt idx="498">
                  <c:v>362.46576510621782</c:v>
                </c:pt>
                <c:pt idx="499">
                  <c:v>363.87190184984092</c:v>
                </c:pt>
                <c:pt idx="500">
                  <c:v>363.80386297514951</c:v>
                </c:pt>
                <c:pt idx="501">
                  <c:v>361.30910423646327</c:v>
                </c:pt>
                <c:pt idx="502">
                  <c:v>367.93155470643046</c:v>
                </c:pt>
                <c:pt idx="503">
                  <c:v>366.04914583996714</c:v>
                </c:pt>
                <c:pt idx="504">
                  <c:v>367.50064183338458</c:v>
                </c:pt>
                <c:pt idx="505">
                  <c:v>362.89667797926359</c:v>
                </c:pt>
                <c:pt idx="506">
                  <c:v>365.02856271959547</c:v>
                </c:pt>
                <c:pt idx="507">
                  <c:v>362.91935760416072</c:v>
                </c:pt>
                <c:pt idx="508">
                  <c:v>363.12347422823507</c:v>
                </c:pt>
                <c:pt idx="509">
                  <c:v>360.42459886547448</c:v>
                </c:pt>
                <c:pt idx="510">
                  <c:v>354.95880926526183</c:v>
                </c:pt>
                <c:pt idx="511">
                  <c:v>352.37333202698699</c:v>
                </c:pt>
                <c:pt idx="512">
                  <c:v>352.89496339962136</c:v>
                </c:pt>
                <c:pt idx="515">
                  <c:v>357.04533475579944</c:v>
                </c:pt>
                <c:pt idx="516">
                  <c:v>356.97729588110798</c:v>
                </c:pt>
                <c:pt idx="517">
                  <c:v>359.01846212185131</c:v>
                </c:pt>
                <c:pt idx="518">
                  <c:v>366.72953458688158</c:v>
                </c:pt>
                <c:pt idx="519">
                  <c:v>369.24697295046502</c:v>
                </c:pt>
                <c:pt idx="520">
                  <c:v>364.05333884901813</c:v>
                </c:pt>
                <c:pt idx="521">
                  <c:v>362.6698817302921</c:v>
                </c:pt>
                <c:pt idx="522">
                  <c:v>365.1646404689784</c:v>
                </c:pt>
                <c:pt idx="523">
                  <c:v>365.5501940922299</c:v>
                </c:pt>
                <c:pt idx="524">
                  <c:v>368.18103058029908</c:v>
                </c:pt>
                <c:pt idx="525">
                  <c:v>366.09450508976147</c:v>
                </c:pt>
                <c:pt idx="526">
                  <c:v>364.23477584819534</c:v>
                </c:pt>
                <c:pt idx="527">
                  <c:v>360.37923961568021</c:v>
                </c:pt>
                <c:pt idx="528">
                  <c:v>358.81434549777697</c:v>
                </c:pt>
                <c:pt idx="529">
                  <c:v>359.69885086876576</c:v>
                </c:pt>
                <c:pt idx="530">
                  <c:v>365.27803859346409</c:v>
                </c:pt>
                <c:pt idx="531">
                  <c:v>363.80386297514951</c:v>
                </c:pt>
                <c:pt idx="532">
                  <c:v>365.95842734037853</c:v>
                </c:pt>
                <c:pt idx="533">
                  <c:v>368.11299170560761</c:v>
                </c:pt>
                <c:pt idx="534">
                  <c:v>364.5069313469611</c:v>
                </c:pt>
                <c:pt idx="535">
                  <c:v>365.59555334202417</c:v>
                </c:pt>
                <c:pt idx="536">
                  <c:v>363.55438710128089</c:v>
                </c:pt>
                <c:pt idx="537">
                  <c:v>363.35027047720655</c:v>
                </c:pt>
                <c:pt idx="538">
                  <c:v>370.83454669326534</c:v>
                </c:pt>
                <c:pt idx="539">
                  <c:v>370.58507081939672</c:v>
                </c:pt>
                <c:pt idx="540">
                  <c:v>370.13147832145376</c:v>
                </c:pt>
                <c:pt idx="541">
                  <c:v>373.12518880787729</c:v>
                </c:pt>
                <c:pt idx="542">
                  <c:v>373.87361642948321</c:v>
                </c:pt>
                <c:pt idx="543">
                  <c:v>371.94584831322561</c:v>
                </c:pt>
                <c:pt idx="544">
                  <c:v>372.49015931075718</c:v>
                </c:pt>
                <c:pt idx="545">
                  <c:v>372.62623706014006</c:v>
                </c:pt>
                <c:pt idx="546">
                  <c:v>372.67159630993433</c:v>
                </c:pt>
                <c:pt idx="547">
                  <c:v>371.24277994141403</c:v>
                </c:pt>
                <c:pt idx="548">
                  <c:v>371.80977056384268</c:v>
                </c:pt>
                <c:pt idx="549">
                  <c:v>371.80977056384268</c:v>
                </c:pt>
                <c:pt idx="550">
                  <c:v>371.87780943853414</c:v>
                </c:pt>
                <c:pt idx="551">
                  <c:v>366.27594208893862</c:v>
                </c:pt>
                <c:pt idx="552">
                  <c:v>366.04914583996714</c:v>
                </c:pt>
                <c:pt idx="553">
                  <c:v>363.30491122741228</c:v>
                </c:pt>
                <c:pt idx="554">
                  <c:v>355.95671276073631</c:v>
                </c:pt>
                <c:pt idx="555">
                  <c:v>354.9361296403647</c:v>
                </c:pt>
                <c:pt idx="556">
                  <c:v>356.77317925703369</c:v>
                </c:pt>
                <c:pt idx="557">
                  <c:v>353.12175964859284</c:v>
                </c:pt>
                <c:pt idx="558">
                  <c:v>355.20828513913045</c:v>
                </c:pt>
                <c:pt idx="559">
                  <c:v>355.07220738974758</c:v>
                </c:pt>
                <c:pt idx="560">
                  <c:v>345.66016305743119</c:v>
                </c:pt>
                <c:pt idx="561">
                  <c:v>351.5795451555868</c:v>
                </c:pt>
                <c:pt idx="562">
                  <c:v>350.17340841196358</c:v>
                </c:pt>
                <c:pt idx="563">
                  <c:v>349.24354379118057</c:v>
                </c:pt>
                <c:pt idx="564">
                  <c:v>347.95080517204309</c:v>
                </c:pt>
                <c:pt idx="565">
                  <c:v>350.6270009099066</c:v>
                </c:pt>
                <c:pt idx="566">
                  <c:v>348.2229606708089</c:v>
                </c:pt>
                <c:pt idx="567">
                  <c:v>354.48253714242173</c:v>
                </c:pt>
                <c:pt idx="568">
                  <c:v>352.78156527513562</c:v>
                </c:pt>
                <c:pt idx="569">
                  <c:v>352.07849690332404</c:v>
                </c:pt>
                <c:pt idx="570">
                  <c:v>352.98568189920996</c:v>
                </c:pt>
                <c:pt idx="571">
                  <c:v>342.71181182080193</c:v>
                </c:pt>
                <c:pt idx="572">
                  <c:v>341.96338419919607</c:v>
                </c:pt>
                <c:pt idx="573">
                  <c:v>343.57363756689358</c:v>
                </c:pt>
                <c:pt idx="574">
                  <c:v>343.8231134407622</c:v>
                </c:pt>
                <c:pt idx="575">
                  <c:v>345.54676493294545</c:v>
                </c:pt>
                <c:pt idx="576">
                  <c:v>344.82101693623673</c:v>
                </c:pt>
                <c:pt idx="577">
                  <c:v>346.13643518027129</c:v>
                </c:pt>
                <c:pt idx="578">
                  <c:v>343.36952094281924</c:v>
                </c:pt>
                <c:pt idx="579">
                  <c:v>343.93651156524794</c:v>
                </c:pt>
                <c:pt idx="580">
                  <c:v>337.2233425956922</c:v>
                </c:pt>
                <c:pt idx="581">
                  <c:v>335.90792435165758</c:v>
                </c:pt>
                <c:pt idx="582">
                  <c:v>332.77813611585117</c:v>
                </c:pt>
                <c:pt idx="583">
                  <c:v>334.56982648272583</c:v>
                </c:pt>
                <c:pt idx="584">
                  <c:v>338.26660534096095</c:v>
                </c:pt>
                <c:pt idx="585">
                  <c:v>339.53666433520129</c:v>
                </c:pt>
                <c:pt idx="586">
                  <c:v>342.32625819755043</c:v>
                </c:pt>
                <c:pt idx="587">
                  <c:v>340.64796595516151</c:v>
                </c:pt>
                <c:pt idx="588">
                  <c:v>340.64796595516151</c:v>
                </c:pt>
                <c:pt idx="589">
                  <c:v>322.98053816028329</c:v>
                </c:pt>
                <c:pt idx="590">
                  <c:v>327.44842426502146</c:v>
                </c:pt>
                <c:pt idx="591">
                  <c:v>320.55381829628845</c:v>
                </c:pt>
                <c:pt idx="592">
                  <c:v>315.81377669278459</c:v>
                </c:pt>
                <c:pt idx="593">
                  <c:v>316.38076731521323</c:v>
                </c:pt>
                <c:pt idx="594">
                  <c:v>311.86752196068079</c:v>
                </c:pt>
                <c:pt idx="595">
                  <c:v>308.94185034894872</c:v>
                </c:pt>
                <c:pt idx="596">
                  <c:v>314.58907694833857</c:v>
                </c:pt>
                <c:pt idx="597">
                  <c:v>319.10232230287102</c:v>
                </c:pt>
                <c:pt idx="598">
                  <c:v>319.98682767385975</c:v>
                </c:pt>
                <c:pt idx="599">
                  <c:v>321.09812929382002</c:v>
                </c:pt>
                <c:pt idx="600">
                  <c:v>320.84865341995135</c:v>
                </c:pt>
                <c:pt idx="601">
                  <c:v>311.84484233578365</c:v>
                </c:pt>
                <c:pt idx="602">
                  <c:v>311.64072571170931</c:v>
                </c:pt>
                <c:pt idx="603">
                  <c:v>323.04857703497476</c:v>
                </c:pt>
                <c:pt idx="605">
                  <c:v>328.4236481355988</c:v>
                </c:pt>
                <c:pt idx="606">
                  <c:v>332.30186399301107</c:v>
                </c:pt>
                <c:pt idx="607">
                  <c:v>331.62147524609662</c:v>
                </c:pt>
                <c:pt idx="608">
                  <c:v>335.22753560474314</c:v>
                </c:pt>
                <c:pt idx="609">
                  <c:v>333.41316561297128</c:v>
                </c:pt>
                <c:pt idx="610">
                  <c:v>326.38248189485546</c:v>
                </c:pt>
                <c:pt idx="611">
                  <c:v>321.84655691542588</c:v>
                </c:pt>
                <c:pt idx="612">
                  <c:v>321.84655691542588</c:v>
                </c:pt>
                <c:pt idx="613">
                  <c:v>332.46062136729108</c:v>
                </c:pt>
                <c:pt idx="614">
                  <c:v>330.03390150329631</c:v>
                </c:pt>
                <c:pt idx="615">
                  <c:v>334.93270048108019</c:v>
                </c:pt>
                <c:pt idx="616">
                  <c:v>339.28718846133262</c:v>
                </c:pt>
                <c:pt idx="617">
                  <c:v>330.46481437634208</c:v>
                </c:pt>
                <c:pt idx="618">
                  <c:v>328.4009685107016</c:v>
                </c:pt>
                <c:pt idx="620">
                  <c:v>329.17207575720465</c:v>
                </c:pt>
                <c:pt idx="621">
                  <c:v>326.65463739362127</c:v>
                </c:pt>
                <c:pt idx="622">
                  <c:v>328.65044438457028</c:v>
                </c:pt>
                <c:pt idx="623">
                  <c:v>328.44632776049593</c:v>
                </c:pt>
                <c:pt idx="624">
                  <c:v>332.50598061708541</c:v>
                </c:pt>
                <c:pt idx="625">
                  <c:v>332.8234953656455</c:v>
                </c:pt>
                <c:pt idx="626">
                  <c:v>336.6336723483663</c:v>
                </c:pt>
                <c:pt idx="627">
                  <c:v>331.62147524609662</c:v>
                </c:pt>
                <c:pt idx="628">
                  <c:v>330.30605700206206</c:v>
                </c:pt>
                <c:pt idx="629">
                  <c:v>322.95785853538615</c:v>
                </c:pt>
                <c:pt idx="630">
                  <c:v>319.14768155266529</c:v>
                </c:pt>
                <c:pt idx="631">
                  <c:v>321.41564404238005</c:v>
                </c:pt>
                <c:pt idx="632">
                  <c:v>320.12290542324268</c:v>
                </c:pt>
                <c:pt idx="633">
                  <c:v>319.55591480081392</c:v>
                </c:pt>
                <c:pt idx="634">
                  <c:v>318.44461318085371</c:v>
                </c:pt>
                <c:pt idx="635">
                  <c:v>316.17665069113889</c:v>
                </c:pt>
                <c:pt idx="636">
                  <c:v>316.26736919072749</c:v>
                </c:pt>
                <c:pt idx="637">
                  <c:v>308.80577259956584</c:v>
                </c:pt>
                <c:pt idx="638">
                  <c:v>307.08212110738259</c:v>
                </c:pt>
                <c:pt idx="639">
                  <c:v>301.07202050963838</c:v>
                </c:pt>
                <c:pt idx="640">
                  <c:v>305.10899374133072</c:v>
                </c:pt>
                <c:pt idx="641">
                  <c:v>303.24926449976459</c:v>
                </c:pt>
                <c:pt idx="642">
                  <c:v>304.15644949565052</c:v>
                </c:pt>
                <c:pt idx="643">
                  <c:v>306.19761573639386</c:v>
                </c:pt>
                <c:pt idx="644">
                  <c:v>313.74993082714411</c:v>
                </c:pt>
                <c:pt idx="645">
                  <c:v>316.60756356418472</c:v>
                </c:pt>
                <c:pt idx="646">
                  <c:v>313.97672707611559</c:v>
                </c:pt>
                <c:pt idx="647">
                  <c:v>313.90868820142413</c:v>
                </c:pt>
                <c:pt idx="648">
                  <c:v>309.39544284689168</c:v>
                </c:pt>
                <c:pt idx="649">
                  <c:v>306.85532485841111</c:v>
                </c:pt>
                <c:pt idx="650">
                  <c:v>304.7687993678735</c:v>
                </c:pt>
                <c:pt idx="651">
                  <c:v>307.53571360532555</c:v>
                </c:pt>
                <c:pt idx="652">
                  <c:v>317.3106319359963</c:v>
                </c:pt>
                <c:pt idx="653">
                  <c:v>314.02208632590987</c:v>
                </c:pt>
                <c:pt idx="654">
                  <c:v>312.59326995738957</c:v>
                </c:pt>
                <c:pt idx="655">
                  <c:v>314.63443619813285</c:v>
                </c:pt>
                <c:pt idx="656">
                  <c:v>314.06744557570414</c:v>
                </c:pt>
                <c:pt idx="657">
                  <c:v>310.96033696479492</c:v>
                </c:pt>
                <c:pt idx="658">
                  <c:v>313.88600857652699</c:v>
                </c:pt>
                <c:pt idx="659">
                  <c:v>316.60756356418472</c:v>
                </c:pt>
                <c:pt idx="660">
                  <c:v>317.10651531192195</c:v>
                </c:pt>
                <c:pt idx="661">
                  <c:v>320.98473116933428</c:v>
                </c:pt>
                <c:pt idx="662">
                  <c:v>314.22620294998416</c:v>
                </c:pt>
                <c:pt idx="663">
                  <c:v>313.22829945450968</c:v>
                </c:pt>
                <c:pt idx="664">
                  <c:v>311.1871332137664</c:v>
                </c:pt>
                <c:pt idx="665">
                  <c:v>306.26565461108527</c:v>
                </c:pt>
                <c:pt idx="666">
                  <c:v>308.66969485018296</c:v>
                </c:pt>
                <c:pt idx="667">
                  <c:v>317.46938931027631</c:v>
                </c:pt>
                <c:pt idx="668">
                  <c:v>318.37657430616224</c:v>
                </c:pt>
                <c:pt idx="669">
                  <c:v>315.26946569525302</c:v>
                </c:pt>
                <c:pt idx="670">
                  <c:v>318.71676867961946</c:v>
                </c:pt>
                <c:pt idx="671">
                  <c:v>308.08002460285712</c:v>
                </c:pt>
                <c:pt idx="672">
                  <c:v>323.02589741007756</c:v>
                </c:pt>
                <c:pt idx="673">
                  <c:v>325.95156902180963</c:v>
                </c:pt>
                <c:pt idx="674">
                  <c:v>328.67312400946741</c:v>
                </c:pt>
                <c:pt idx="675">
                  <c:v>330.26069775226773</c:v>
                </c:pt>
                <c:pt idx="676">
                  <c:v>329.87514412901623</c:v>
                </c:pt>
                <c:pt idx="677">
                  <c:v>327.85665751317009</c:v>
                </c:pt>
                <c:pt idx="678">
                  <c:v>332.73277686605689</c:v>
                </c:pt>
                <c:pt idx="679">
                  <c:v>330.46481437634208</c:v>
                </c:pt>
                <c:pt idx="680">
                  <c:v>329.55762938045615</c:v>
                </c:pt>
                <c:pt idx="681">
                  <c:v>328.21953151152445</c:v>
                </c:pt>
                <c:pt idx="682">
                  <c:v>332.95957311502838</c:v>
                </c:pt>
                <c:pt idx="683">
                  <c:v>331.14520312325652</c:v>
                </c:pt>
                <c:pt idx="685">
                  <c:v>331.14520312325652</c:v>
                </c:pt>
                <c:pt idx="686">
                  <c:v>328.21953151152445</c:v>
                </c:pt>
                <c:pt idx="687">
                  <c:v>327.0628706417699</c:v>
                </c:pt>
                <c:pt idx="688">
                  <c:v>321.82387729052874</c:v>
                </c:pt>
                <c:pt idx="689">
                  <c:v>325.47529689896953</c:v>
                </c:pt>
                <c:pt idx="690">
                  <c:v>325.83817089732395</c:v>
                </c:pt>
                <c:pt idx="691">
                  <c:v>323.20733440925477</c:v>
                </c:pt>
                <c:pt idx="692">
                  <c:v>322.1867512888831</c:v>
                </c:pt>
                <c:pt idx="693">
                  <c:v>325.24850064999805</c:v>
                </c:pt>
                <c:pt idx="694">
                  <c:v>326.20104489567831</c:v>
                </c:pt>
                <c:pt idx="695">
                  <c:v>325.31653952468952</c:v>
                </c:pt>
                <c:pt idx="696">
                  <c:v>324.90830627654088</c:v>
                </c:pt>
                <c:pt idx="697">
                  <c:v>319.48787592612251</c:v>
                </c:pt>
                <c:pt idx="698">
                  <c:v>318.80748717920807</c:v>
                </c:pt>
                <c:pt idx="699">
                  <c:v>319.78271104978541</c:v>
                </c:pt>
                <c:pt idx="700">
                  <c:v>320.07754617344835</c:v>
                </c:pt>
                <c:pt idx="701">
                  <c:v>321.6197606664544</c:v>
                </c:pt>
                <c:pt idx="702">
                  <c:v>325.72477277283821</c:v>
                </c:pt>
                <c:pt idx="703">
                  <c:v>323.88772315616922</c:v>
                </c:pt>
                <c:pt idx="704">
                  <c:v>324.54543227818647</c:v>
                </c:pt>
                <c:pt idx="705">
                  <c:v>327.51646313971287</c:v>
                </c:pt>
                <c:pt idx="706">
                  <c:v>328.96795913313036</c:v>
                </c:pt>
                <c:pt idx="707">
                  <c:v>330.69161062531356</c:v>
                </c:pt>
                <c:pt idx="708">
                  <c:v>327.44842426502146</c:v>
                </c:pt>
                <c:pt idx="709">
                  <c:v>324.5907915279808</c:v>
                </c:pt>
                <c:pt idx="710">
                  <c:v>327.28966689074139</c:v>
                </c:pt>
                <c:pt idx="711">
                  <c:v>324.22791752962638</c:v>
                </c:pt>
                <c:pt idx="712">
                  <c:v>325.27118027489524</c:v>
                </c:pt>
                <c:pt idx="713">
                  <c:v>328.01541488745011</c:v>
                </c:pt>
                <c:pt idx="714">
                  <c:v>323.91040278106635</c:v>
                </c:pt>
                <c:pt idx="715">
                  <c:v>322.61766416192887</c:v>
                </c:pt>
                <c:pt idx="716">
                  <c:v>323.18465478435763</c:v>
                </c:pt>
                <c:pt idx="717">
                  <c:v>326.83607439279842</c:v>
                </c:pt>
                <c:pt idx="718">
                  <c:v>325.95156902180963</c:v>
                </c:pt>
                <c:pt idx="719">
                  <c:v>324.6815100275694</c:v>
                </c:pt>
                <c:pt idx="720">
                  <c:v>325.31653952468952</c:v>
                </c:pt>
                <c:pt idx="721">
                  <c:v>328.46900738539307</c:v>
                </c:pt>
                <c:pt idx="722">
                  <c:v>327.74325938868435</c:v>
                </c:pt>
                <c:pt idx="723">
                  <c:v>329.30815350658753</c:v>
                </c:pt>
                <c:pt idx="724">
                  <c:v>326.60927814382694</c:v>
                </c:pt>
                <c:pt idx="725">
                  <c:v>324.77222852715795</c:v>
                </c:pt>
                <c:pt idx="726">
                  <c:v>323.23001403415191</c:v>
                </c:pt>
                <c:pt idx="727">
                  <c:v>324.81758777695228</c:v>
                </c:pt>
                <c:pt idx="728">
                  <c:v>327.28966689074139</c:v>
                </c:pt>
                <c:pt idx="729">
                  <c:v>330.01122187839911</c:v>
                </c:pt>
                <c:pt idx="730">
                  <c:v>328.12881301193585</c:v>
                </c:pt>
                <c:pt idx="731">
                  <c:v>329.10403688251318</c:v>
                </c:pt>
                <c:pt idx="732">
                  <c:v>325.67941352304388</c:v>
                </c:pt>
                <c:pt idx="733">
                  <c:v>323.79700465658061</c:v>
                </c:pt>
                <c:pt idx="734">
                  <c:v>326.5865985189298</c:v>
                </c:pt>
                <c:pt idx="735">
                  <c:v>322.91249928559182</c:v>
                </c:pt>
                <c:pt idx="736">
                  <c:v>323.20733440925477</c:v>
                </c:pt>
                <c:pt idx="737">
                  <c:v>323.63824728230054</c:v>
                </c:pt>
                <c:pt idx="738">
                  <c:v>323.1392955345633</c:v>
                </c:pt>
                <c:pt idx="739">
                  <c:v>318.48997243064798</c:v>
                </c:pt>
                <c:pt idx="740">
                  <c:v>314.61175657323571</c:v>
                </c:pt>
                <c:pt idx="741">
                  <c:v>316.04057294175601</c:v>
                </c:pt>
                <c:pt idx="742">
                  <c:v>317.49206893517351</c:v>
                </c:pt>
                <c:pt idx="743">
                  <c:v>315.11070832097295</c:v>
                </c:pt>
                <c:pt idx="744">
                  <c:v>316.60756356418472</c:v>
                </c:pt>
                <c:pt idx="745">
                  <c:v>317.15187456171623</c:v>
                </c:pt>
                <c:pt idx="746">
                  <c:v>320.48577942159699</c:v>
                </c:pt>
                <c:pt idx="747">
                  <c:v>320.57649792118559</c:v>
                </c:pt>
                <c:pt idx="748">
                  <c:v>320.73525529546566</c:v>
                </c:pt>
                <c:pt idx="749">
                  <c:v>319.85074992447687</c:v>
                </c:pt>
                <c:pt idx="750">
                  <c:v>316.97043756253913</c:v>
                </c:pt>
                <c:pt idx="751">
                  <c:v>318.73944830451666</c:v>
                </c:pt>
                <c:pt idx="752">
                  <c:v>317.9003021833222</c:v>
                </c:pt>
                <c:pt idx="753">
                  <c:v>315.01998982138434</c:v>
                </c:pt>
                <c:pt idx="754">
                  <c:v>316.38076731521323</c:v>
                </c:pt>
                <c:pt idx="755">
                  <c:v>321.18884779340863</c:v>
                </c:pt>
                <c:pt idx="756">
                  <c:v>322.64034378682607</c:v>
                </c:pt>
                <c:pt idx="757">
                  <c:v>323.91040278106635</c:v>
                </c:pt>
                <c:pt idx="758">
                  <c:v>325.02170440102657</c:v>
                </c:pt>
                <c:pt idx="759">
                  <c:v>325.20314140020378</c:v>
                </c:pt>
                <c:pt idx="760">
                  <c:v>327.94737601275864</c:v>
                </c:pt>
                <c:pt idx="761">
                  <c:v>327.42574464012426</c:v>
                </c:pt>
                <c:pt idx="762">
                  <c:v>332.27918436811393</c:v>
                </c:pt>
                <c:pt idx="763">
                  <c:v>330.48749400123921</c:v>
                </c:pt>
                <c:pt idx="764">
                  <c:v>327.94737601275864</c:v>
                </c:pt>
                <c:pt idx="765">
                  <c:v>327.42574464012426</c:v>
                </c:pt>
                <c:pt idx="766">
                  <c:v>329.51227013066188</c:v>
                </c:pt>
                <c:pt idx="767">
                  <c:v>328.8999202584389</c:v>
                </c:pt>
                <c:pt idx="768">
                  <c:v>330.21533850247346</c:v>
                </c:pt>
                <c:pt idx="771">
                  <c:v>334.52446723293156</c:v>
                </c:pt>
                <c:pt idx="772">
                  <c:v>335.06877823046312</c:v>
                </c:pt>
                <c:pt idx="773">
                  <c:v>335.40897260392035</c:v>
                </c:pt>
                <c:pt idx="774">
                  <c:v>337.45013884466368</c:v>
                </c:pt>
                <c:pt idx="775">
                  <c:v>332.73277686605689</c:v>
                </c:pt>
                <c:pt idx="776">
                  <c:v>331.73487337058236</c:v>
                </c:pt>
                <c:pt idx="777">
                  <c:v>333.57192298725136</c:v>
                </c:pt>
                <c:pt idx="778">
                  <c:v>334.20695248437153</c:v>
                </c:pt>
                <c:pt idx="779">
                  <c:v>330.30605700206206</c:v>
                </c:pt>
                <c:pt idx="780">
                  <c:v>330.37409587675353</c:v>
                </c:pt>
                <c:pt idx="781">
                  <c:v>331.371999372228</c:v>
                </c:pt>
                <c:pt idx="782">
                  <c:v>333.07297123951412</c:v>
                </c:pt>
                <c:pt idx="783">
                  <c:v>331.53075674650808</c:v>
                </c:pt>
                <c:pt idx="784">
                  <c:v>333.18636936399986</c:v>
                </c:pt>
                <c:pt idx="785">
                  <c:v>334.7285838570059</c:v>
                </c:pt>
                <c:pt idx="786">
                  <c:v>332.93689349013118</c:v>
                </c:pt>
                <c:pt idx="787">
                  <c:v>332.57401949177682</c:v>
                </c:pt>
                <c:pt idx="788">
                  <c:v>332.34722324280534</c:v>
                </c:pt>
                <c:pt idx="789">
                  <c:v>330.44213475144494</c:v>
                </c:pt>
                <c:pt idx="790">
                  <c:v>328.4009685107016</c:v>
                </c:pt>
                <c:pt idx="791">
                  <c:v>328.17417226173012</c:v>
                </c:pt>
                <c:pt idx="792">
                  <c:v>327.26698726584425</c:v>
                </c:pt>
                <c:pt idx="793">
                  <c:v>326.99483176707844</c:v>
                </c:pt>
                <c:pt idx="794">
                  <c:v>324.54543227818647</c:v>
                </c:pt>
                <c:pt idx="795">
                  <c:v>321.64244029135153</c:v>
                </c:pt>
                <c:pt idx="796">
                  <c:v>321.84655691542588</c:v>
                </c:pt>
                <c:pt idx="797">
                  <c:v>322.36818828806031</c:v>
                </c:pt>
                <c:pt idx="798">
                  <c:v>321.86923654032302</c:v>
                </c:pt>
                <c:pt idx="799">
                  <c:v>322.45890678764886</c:v>
                </c:pt>
                <c:pt idx="800">
                  <c:v>326.5865985189298</c:v>
                </c:pt>
                <c:pt idx="801">
                  <c:v>326.15568564588398</c:v>
                </c:pt>
                <c:pt idx="802">
                  <c:v>322.95785853538615</c:v>
                </c:pt>
                <c:pt idx="803">
                  <c:v>325.42993764917526</c:v>
                </c:pt>
                <c:pt idx="804">
                  <c:v>324.63615077777507</c:v>
                </c:pt>
                <c:pt idx="805">
                  <c:v>325.47529689896953</c:v>
                </c:pt>
                <c:pt idx="806">
                  <c:v>327.04019101687277</c:v>
                </c:pt>
                <c:pt idx="807">
                  <c:v>326.81339476790129</c:v>
                </c:pt>
                <c:pt idx="808">
                  <c:v>327.49378351481573</c:v>
                </c:pt>
                <c:pt idx="809">
                  <c:v>325.90620977201536</c:v>
                </c:pt>
                <c:pt idx="810">
                  <c:v>327.10822989156418</c:v>
                </c:pt>
                <c:pt idx="811">
                  <c:v>323.41145103332912</c:v>
                </c:pt>
                <c:pt idx="812">
                  <c:v>322.73106228641467</c:v>
                </c:pt>
                <c:pt idx="813">
                  <c:v>324.27327677942071</c:v>
                </c:pt>
                <c:pt idx="814">
                  <c:v>321.82387729052874</c:v>
                </c:pt>
                <c:pt idx="815">
                  <c:v>321.93727541501448</c:v>
                </c:pt>
                <c:pt idx="816">
                  <c:v>318.98892417838522</c:v>
                </c:pt>
                <c:pt idx="817">
                  <c:v>319.10232230287102</c:v>
                </c:pt>
                <c:pt idx="818">
                  <c:v>322.16407166398596</c:v>
                </c:pt>
                <c:pt idx="819">
                  <c:v>319.98682767385975</c:v>
                </c:pt>
                <c:pt idx="820">
                  <c:v>314.36228069936709</c:v>
                </c:pt>
                <c:pt idx="821">
                  <c:v>304.63272161849062</c:v>
                </c:pt>
                <c:pt idx="822">
                  <c:v>304.83683824256497</c:v>
                </c:pt>
                <c:pt idx="823">
                  <c:v>294.74440516333414</c:v>
                </c:pt>
                <c:pt idx="824">
                  <c:v>294.60832741395126</c:v>
                </c:pt>
                <c:pt idx="825">
                  <c:v>294.38153116497978</c:v>
                </c:pt>
                <c:pt idx="826">
                  <c:v>297.10308615263756</c:v>
                </c:pt>
                <c:pt idx="827">
                  <c:v>293.54238504378532</c:v>
                </c:pt>
                <c:pt idx="828">
                  <c:v>292.38572417403077</c:v>
                </c:pt>
                <c:pt idx="829">
                  <c:v>291.8640928013964</c:v>
                </c:pt>
                <c:pt idx="830">
                  <c:v>296.6268140297974</c:v>
                </c:pt>
                <c:pt idx="831">
                  <c:v>295.28871616086565</c:v>
                </c:pt>
                <c:pt idx="832">
                  <c:v>297.53399902568333</c:v>
                </c:pt>
                <c:pt idx="833">
                  <c:v>297.32988240160904</c:v>
                </c:pt>
                <c:pt idx="834">
                  <c:v>298.50922289626067</c:v>
                </c:pt>
                <c:pt idx="835">
                  <c:v>302.41011837857013</c:v>
                </c:pt>
                <c:pt idx="836">
                  <c:v>301.00398163494697</c:v>
                </c:pt>
                <c:pt idx="837">
                  <c:v>300.82254463576976</c:v>
                </c:pt>
                <c:pt idx="838">
                  <c:v>304.49664386910774</c:v>
                </c:pt>
                <c:pt idx="839">
                  <c:v>299.64320414111808</c:v>
                </c:pt>
                <c:pt idx="840">
                  <c:v>302.8637108765131</c:v>
                </c:pt>
                <c:pt idx="841">
                  <c:v>299.84732076519242</c:v>
                </c:pt>
                <c:pt idx="842">
                  <c:v>301.72972963165574</c:v>
                </c:pt>
                <c:pt idx="843">
                  <c:v>300.75450576107829</c:v>
                </c:pt>
                <c:pt idx="844">
                  <c:v>301.07202050963838</c:v>
                </c:pt>
                <c:pt idx="845">
                  <c:v>303.27194412466179</c:v>
                </c:pt>
                <c:pt idx="846">
                  <c:v>301.41221488309566</c:v>
                </c:pt>
                <c:pt idx="847">
                  <c:v>300.73182613618121</c:v>
                </c:pt>
                <c:pt idx="848">
                  <c:v>299.37104864235232</c:v>
                </c:pt>
                <c:pt idx="849">
                  <c:v>300.77718538597549</c:v>
                </c:pt>
                <c:pt idx="850">
                  <c:v>300.66378726148974</c:v>
                </c:pt>
                <c:pt idx="851">
                  <c:v>301.41221488309566</c:v>
                </c:pt>
                <c:pt idx="852">
                  <c:v>305.31311036540507</c:v>
                </c:pt>
                <c:pt idx="853">
                  <c:v>307.78518947919417</c:v>
                </c:pt>
                <c:pt idx="854">
                  <c:v>307.62643210491416</c:v>
                </c:pt>
                <c:pt idx="855">
                  <c:v>307.08212110738259</c:v>
                </c:pt>
                <c:pt idx="856">
                  <c:v>304.99559561684498</c:v>
                </c:pt>
                <c:pt idx="857">
                  <c:v>302.5688757528502</c:v>
                </c:pt>
                <c:pt idx="858">
                  <c:v>303.86161437198763</c:v>
                </c:pt>
                <c:pt idx="859">
                  <c:v>305.72134361355376</c:v>
                </c:pt>
                <c:pt idx="860">
                  <c:v>303.36266262425033</c:v>
                </c:pt>
                <c:pt idx="861">
                  <c:v>303.47606074873607</c:v>
                </c:pt>
                <c:pt idx="862">
                  <c:v>307.08212110738259</c:v>
                </c:pt>
                <c:pt idx="863">
                  <c:v>314.33960107446995</c:v>
                </c:pt>
                <c:pt idx="864">
                  <c:v>312.27575520882948</c:v>
                </c:pt>
                <c:pt idx="865">
                  <c:v>316.4488061899047</c:v>
                </c:pt>
                <c:pt idx="866">
                  <c:v>315.20142682056155</c:v>
                </c:pt>
                <c:pt idx="867">
                  <c:v>315.24678607035582</c:v>
                </c:pt>
                <c:pt idx="868">
                  <c:v>317.92298180821928</c:v>
                </c:pt>
                <c:pt idx="869">
                  <c:v>313.99940670101267</c:v>
                </c:pt>
                <c:pt idx="870">
                  <c:v>310.30262784277761</c:v>
                </c:pt>
                <c:pt idx="871">
                  <c:v>315.04266944628154</c:v>
                </c:pt>
                <c:pt idx="872">
                  <c:v>317.10651531192195</c:v>
                </c:pt>
                <c:pt idx="873">
                  <c:v>318.42193355595657</c:v>
                </c:pt>
                <c:pt idx="874">
                  <c:v>319.10232230287102</c:v>
                </c:pt>
                <c:pt idx="875">
                  <c:v>316.15397106624175</c:v>
                </c:pt>
                <c:pt idx="876">
                  <c:v>317.3106319359963</c:v>
                </c:pt>
                <c:pt idx="877">
                  <c:v>317.65082630945352</c:v>
                </c:pt>
                <c:pt idx="878">
                  <c:v>314.33960107446995</c:v>
                </c:pt>
                <c:pt idx="879">
                  <c:v>310.03047234401186</c:v>
                </c:pt>
                <c:pt idx="880">
                  <c:v>308.44289860121148</c:v>
                </c:pt>
                <c:pt idx="881">
                  <c:v>302.11528325490724</c:v>
                </c:pt>
                <c:pt idx="882">
                  <c:v>302.43279800346727</c:v>
                </c:pt>
                <c:pt idx="883">
                  <c:v>303.70285699770756</c:v>
                </c:pt>
                <c:pt idx="884">
                  <c:v>303.4307014989418</c:v>
                </c:pt>
                <c:pt idx="885">
                  <c:v>305.04095486663931</c:v>
                </c:pt>
                <c:pt idx="886">
                  <c:v>302.61423500264448</c:v>
                </c:pt>
                <c:pt idx="887">
                  <c:v>305.49454736458227</c:v>
                </c:pt>
                <c:pt idx="888">
                  <c:v>304.40592536951914</c:v>
                </c:pt>
                <c:pt idx="889">
                  <c:v>305.67598436375943</c:v>
                </c:pt>
                <c:pt idx="890">
                  <c:v>305.29043074050787</c:v>
                </c:pt>
                <c:pt idx="891">
                  <c:v>307.42231548083981</c:v>
                </c:pt>
                <c:pt idx="892">
                  <c:v>313.02418283043534</c:v>
                </c:pt>
                <c:pt idx="893">
                  <c:v>312.9107847059496</c:v>
                </c:pt>
                <c:pt idx="894">
                  <c:v>312.54791070759524</c:v>
                </c:pt>
                <c:pt idx="895">
                  <c:v>314.63443619813285</c:v>
                </c:pt>
                <c:pt idx="896">
                  <c:v>316.42612656500756</c:v>
                </c:pt>
                <c:pt idx="897">
                  <c:v>315.47358231932731</c:v>
                </c:pt>
                <c:pt idx="898">
                  <c:v>318.19513730698509</c:v>
                </c:pt>
                <c:pt idx="899">
                  <c:v>319.78271104978541</c:v>
                </c:pt>
                <c:pt idx="900">
                  <c:v>323.00321778518042</c:v>
                </c:pt>
                <c:pt idx="901">
                  <c:v>329.26279425679326</c:v>
                </c:pt>
                <c:pt idx="902">
                  <c:v>322.98053816028329</c:v>
                </c:pt>
                <c:pt idx="903">
                  <c:v>324.54543227818647</c:v>
                </c:pt>
                <c:pt idx="904">
                  <c:v>325.36189877448385</c:v>
                </c:pt>
                <c:pt idx="905">
                  <c:v>322.50426603744319</c:v>
                </c:pt>
                <c:pt idx="906">
                  <c:v>324.36399527900932</c:v>
                </c:pt>
                <c:pt idx="907">
                  <c:v>324.52275265328933</c:v>
                </c:pt>
                <c:pt idx="908">
                  <c:v>322.16407166398596</c:v>
                </c:pt>
                <c:pt idx="909">
                  <c:v>322.59498453703179</c:v>
                </c:pt>
                <c:pt idx="910">
                  <c:v>318.89820567879667</c:v>
                </c:pt>
                <c:pt idx="911">
                  <c:v>318.71676867961946</c:v>
                </c:pt>
                <c:pt idx="912">
                  <c:v>317.03847643723054</c:v>
                </c:pt>
                <c:pt idx="913">
                  <c:v>320.25898317262556</c:v>
                </c:pt>
                <c:pt idx="914">
                  <c:v>320.46309979669985</c:v>
                </c:pt>
                <c:pt idx="915">
                  <c:v>324.36399527900932</c:v>
                </c:pt>
                <c:pt idx="916">
                  <c:v>325.83817089732395</c:v>
                </c:pt>
                <c:pt idx="917">
                  <c:v>323.50216953291772</c:v>
                </c:pt>
                <c:pt idx="918">
                  <c:v>322.77642153620894</c:v>
                </c:pt>
                <c:pt idx="919">
                  <c:v>321.59708104155726</c:v>
                </c:pt>
                <c:pt idx="920">
                  <c:v>323.66092690719773</c:v>
                </c:pt>
                <c:pt idx="921">
                  <c:v>321.05277004402575</c:v>
                </c:pt>
                <c:pt idx="922">
                  <c:v>322.23211053867738</c:v>
                </c:pt>
                <c:pt idx="923">
                  <c:v>322.07335316439736</c:v>
                </c:pt>
                <c:pt idx="924">
                  <c:v>317.28795231109916</c:v>
                </c:pt>
                <c:pt idx="925">
                  <c:v>316.63024318908185</c:v>
                </c:pt>
                <c:pt idx="926">
                  <c:v>318.42193355595657</c:v>
                </c:pt>
                <c:pt idx="927">
                  <c:v>317.99102068291074</c:v>
                </c:pt>
                <c:pt idx="928">
                  <c:v>318.67140942982519</c:v>
                </c:pt>
                <c:pt idx="929">
                  <c:v>314.13548445039561</c:v>
                </c:pt>
                <c:pt idx="930">
                  <c:v>312.36647370841808</c:v>
                </c:pt>
                <c:pt idx="931">
                  <c:v>310.82425921541198</c:v>
                </c:pt>
                <c:pt idx="932">
                  <c:v>313.43241607858403</c:v>
                </c:pt>
                <c:pt idx="933">
                  <c:v>314.58907694833857</c:v>
                </c:pt>
                <c:pt idx="934">
                  <c:v>313.97672707611559</c:v>
                </c:pt>
                <c:pt idx="935">
                  <c:v>317.65082630945352</c:v>
                </c:pt>
                <c:pt idx="936">
                  <c:v>321.50636254196866</c:v>
                </c:pt>
                <c:pt idx="937">
                  <c:v>321.86923654032302</c:v>
                </c:pt>
                <c:pt idx="938">
                  <c:v>319.82807029957974</c:v>
                </c:pt>
                <c:pt idx="939">
                  <c:v>318.87552605389953</c:v>
                </c:pt>
                <c:pt idx="940">
                  <c:v>317.28795231109916</c:v>
                </c:pt>
                <c:pt idx="941">
                  <c:v>315.99521369196168</c:v>
                </c:pt>
                <c:pt idx="942">
                  <c:v>315.94985444216741</c:v>
                </c:pt>
                <c:pt idx="943">
                  <c:v>314.20352332508708</c:v>
                </c:pt>
                <c:pt idx="944">
                  <c:v>316.01789331685887</c:v>
                </c:pt>
                <c:pt idx="945">
                  <c:v>316.29004881562469</c:v>
                </c:pt>
                <c:pt idx="946">
                  <c:v>319.35179817673963</c:v>
                </c:pt>
                <c:pt idx="947">
                  <c:v>314.65711582303004</c:v>
                </c:pt>
                <c:pt idx="948">
                  <c:v>312.86542545615532</c:v>
                </c:pt>
                <c:pt idx="949">
                  <c:v>309.75831684524604</c:v>
                </c:pt>
                <c:pt idx="950">
                  <c:v>310.98301658969206</c:v>
                </c:pt>
                <c:pt idx="951">
                  <c:v>310.71086109092624</c:v>
                </c:pt>
                <c:pt idx="952">
                  <c:v>312.77470695656672</c:v>
                </c:pt>
                <c:pt idx="953">
                  <c:v>315.63233969360738</c:v>
                </c:pt>
                <c:pt idx="954">
                  <c:v>313.88600857652699</c:v>
                </c:pt>
                <c:pt idx="955">
                  <c:v>311.55000721212076</c:v>
                </c:pt>
                <c:pt idx="956">
                  <c:v>307.62643210491416</c:v>
                </c:pt>
                <c:pt idx="957">
                  <c:v>308.3068208518286</c:v>
                </c:pt>
                <c:pt idx="958">
                  <c:v>306.17493611149666</c:v>
                </c:pt>
                <c:pt idx="959">
                  <c:v>306.90068410820544</c:v>
                </c:pt>
                <c:pt idx="960">
                  <c:v>307.12748035717692</c:v>
                </c:pt>
                <c:pt idx="961">
                  <c:v>305.51722698947941</c:v>
                </c:pt>
                <c:pt idx="962">
                  <c:v>305.53990661437655</c:v>
                </c:pt>
                <c:pt idx="963">
                  <c:v>306.40173236046815</c:v>
                </c:pt>
                <c:pt idx="964">
                  <c:v>303.61213849811895</c:v>
                </c:pt>
                <c:pt idx="965">
                  <c:v>302.31939987898153</c:v>
                </c:pt>
                <c:pt idx="966">
                  <c:v>304.47396424421061</c:v>
                </c:pt>
                <c:pt idx="967">
                  <c:v>304.58736236869635</c:v>
                </c:pt>
                <c:pt idx="968">
                  <c:v>306.40173236046815</c:v>
                </c:pt>
                <c:pt idx="969">
                  <c:v>306.94604335799971</c:v>
                </c:pt>
                <c:pt idx="970">
                  <c:v>303.77089587239902</c:v>
                </c:pt>
                <c:pt idx="971">
                  <c:v>308.53361710080003</c:v>
                </c:pt>
                <c:pt idx="972">
                  <c:v>307.55839323022269</c:v>
                </c:pt>
                <c:pt idx="973">
                  <c:v>307.58107285511988</c:v>
                </c:pt>
                <c:pt idx="974">
                  <c:v>300.73182613618121</c:v>
                </c:pt>
                <c:pt idx="975">
                  <c:v>300.68646688638688</c:v>
                </c:pt>
                <c:pt idx="976">
                  <c:v>300.05143738926677</c:v>
                </c:pt>
                <c:pt idx="977">
                  <c:v>302.09260363001005</c:v>
                </c:pt>
                <c:pt idx="978">
                  <c:v>305.29043074050787</c:v>
                </c:pt>
                <c:pt idx="979">
                  <c:v>304.74611974297636</c:v>
                </c:pt>
                <c:pt idx="980">
                  <c:v>306.60584898454249</c:v>
                </c:pt>
                <c:pt idx="981">
                  <c:v>308.46557822610862</c:v>
                </c:pt>
                <c:pt idx="982">
                  <c:v>311.14177396397207</c:v>
                </c:pt>
                <c:pt idx="983">
                  <c:v>310.93765733989773</c:v>
                </c:pt>
                <c:pt idx="984">
                  <c:v>307.76250985429704</c:v>
                </c:pt>
                <c:pt idx="985">
                  <c:v>310.05315196890899</c:v>
                </c:pt>
                <c:pt idx="986">
                  <c:v>308.48825785100576</c:v>
                </c:pt>
                <c:pt idx="987">
                  <c:v>304.15644949565052</c:v>
                </c:pt>
                <c:pt idx="988">
                  <c:v>301.45757413288993</c:v>
                </c:pt>
                <c:pt idx="989">
                  <c:v>303.0451478756903</c:v>
                </c:pt>
                <c:pt idx="990">
                  <c:v>304.81415861766783</c:v>
                </c:pt>
                <c:pt idx="991">
                  <c:v>305.51722698947941</c:v>
                </c:pt>
                <c:pt idx="992">
                  <c:v>303.36266262425033</c:v>
                </c:pt>
                <c:pt idx="993">
                  <c:v>306.26565461108527</c:v>
                </c:pt>
                <c:pt idx="994">
                  <c:v>306.42441198536534</c:v>
                </c:pt>
                <c:pt idx="995">
                  <c:v>303.68017737281042</c:v>
                </c:pt>
                <c:pt idx="996">
                  <c:v>306.26565461108527</c:v>
                </c:pt>
                <c:pt idx="997">
                  <c:v>303.18122562507318</c:v>
                </c:pt>
                <c:pt idx="998">
                  <c:v>304.58736236869635</c:v>
                </c:pt>
                <c:pt idx="999">
                  <c:v>303.36266262425033</c:v>
                </c:pt>
                <c:pt idx="1000">
                  <c:v>307.98930610326852</c:v>
                </c:pt>
                <c:pt idx="1001">
                  <c:v>305.31311036540507</c:v>
                </c:pt>
                <c:pt idx="1002">
                  <c:v>303.72553662260475</c:v>
                </c:pt>
                <c:pt idx="1003">
                  <c:v>301.59365188227281</c:v>
                </c:pt>
                <c:pt idx="1004">
                  <c:v>300.34627251292972</c:v>
                </c:pt>
                <c:pt idx="1005">
                  <c:v>295.51551240983713</c:v>
                </c:pt>
                <c:pt idx="1006">
                  <c:v>289.61880993657871</c:v>
                </c:pt>
                <c:pt idx="1007">
                  <c:v>292.79395742217946</c:v>
                </c:pt>
                <c:pt idx="1008">
                  <c:v>292.61252042300225</c:v>
                </c:pt>
                <c:pt idx="1009">
                  <c:v>294.42689041477411</c:v>
                </c:pt>
                <c:pt idx="1010">
                  <c:v>296.46805665551739</c:v>
                </c:pt>
                <c:pt idx="1011">
                  <c:v>293.27022954501956</c:v>
                </c:pt>
                <c:pt idx="1012">
                  <c:v>290.34455793328743</c:v>
                </c:pt>
                <c:pt idx="1013">
                  <c:v>293.7465016678596</c:v>
                </c:pt>
                <c:pt idx="1014">
                  <c:v>293.54238504378532</c:v>
                </c:pt>
                <c:pt idx="1015">
                  <c:v>296.03714378247162</c:v>
                </c:pt>
                <c:pt idx="1016">
                  <c:v>297.55667865058047</c:v>
                </c:pt>
                <c:pt idx="1017">
                  <c:v>289.8456061855502</c:v>
                </c:pt>
                <c:pt idx="1018">
                  <c:v>286.03542920282933</c:v>
                </c:pt>
                <c:pt idx="1019">
                  <c:v>288.05391581867548</c:v>
                </c:pt>
                <c:pt idx="1020">
                  <c:v>292.36304454913358</c:v>
                </c:pt>
                <c:pt idx="1021">
                  <c:v>291.50121880304198</c:v>
                </c:pt>
                <c:pt idx="1022">
                  <c:v>288.62090644110424</c:v>
                </c:pt>
                <c:pt idx="1023">
                  <c:v>288.53018794151563</c:v>
                </c:pt>
                <c:pt idx="1024">
                  <c:v>288.53018794151563</c:v>
                </c:pt>
                <c:pt idx="1025">
                  <c:v>288.53018794151563</c:v>
                </c:pt>
                <c:pt idx="1026">
                  <c:v>287.21476969748102</c:v>
                </c:pt>
                <c:pt idx="1027">
                  <c:v>287.12405119789241</c:v>
                </c:pt>
                <c:pt idx="1028">
                  <c:v>288.43946944192703</c:v>
                </c:pt>
                <c:pt idx="1029">
                  <c:v>286.17150695221227</c:v>
                </c:pt>
                <c:pt idx="1030">
                  <c:v>281.95309672134272</c:v>
                </c:pt>
                <c:pt idx="1031">
                  <c:v>280.81911547648531</c:v>
                </c:pt>
                <c:pt idx="1032">
                  <c:v>279.86657123080516</c:v>
                </c:pt>
                <c:pt idx="1033">
                  <c:v>282.61080584336003</c:v>
                </c:pt>
                <c:pt idx="1034">
                  <c:v>279.00474548471351</c:v>
                </c:pt>
                <c:pt idx="1035">
                  <c:v>278.09756048882758</c:v>
                </c:pt>
                <c:pt idx="1036">
                  <c:v>268.2999625332597</c:v>
                </c:pt>
                <c:pt idx="1037">
                  <c:v>255.2364985925025</c:v>
                </c:pt>
                <c:pt idx="1038">
                  <c:v>259.40954957357769</c:v>
                </c:pt>
                <c:pt idx="1039">
                  <c:v>256.73335383571424</c:v>
                </c:pt>
                <c:pt idx="1040">
                  <c:v>257.23230558345153</c:v>
                </c:pt>
                <c:pt idx="1041">
                  <c:v>261.29195844004101</c:v>
                </c:pt>
                <c:pt idx="1042">
                  <c:v>255.39525596678251</c:v>
                </c:pt>
                <c:pt idx="1043">
                  <c:v>260.4528123188465</c:v>
                </c:pt>
                <c:pt idx="1044">
                  <c:v>253.14997310196489</c:v>
                </c:pt>
                <c:pt idx="1045">
                  <c:v>249.02228137068397</c:v>
                </c:pt>
                <c:pt idx="1046">
                  <c:v>252.06135110690178</c:v>
                </c:pt>
                <c:pt idx="1047">
                  <c:v>248.81816474660963</c:v>
                </c:pt>
                <c:pt idx="1048">
                  <c:v>244.48635639125439</c:v>
                </c:pt>
                <c:pt idx="1049">
                  <c:v>249.70267011759839</c:v>
                </c:pt>
                <c:pt idx="1050">
                  <c:v>251.08612723632442</c:v>
                </c:pt>
                <c:pt idx="1051">
                  <c:v>258.32092757851461</c:v>
                </c:pt>
                <c:pt idx="1052">
                  <c:v>258.91059782584045</c:v>
                </c:pt>
                <c:pt idx="1053">
                  <c:v>253.78500259908506</c:v>
                </c:pt>
                <c:pt idx="1054">
                  <c:v>258.18484982913174</c:v>
                </c:pt>
                <c:pt idx="1055">
                  <c:v>257.00550933448005</c:v>
                </c:pt>
                <c:pt idx="1056">
                  <c:v>253.60356559990785</c:v>
                </c:pt>
                <c:pt idx="1057">
                  <c:v>256.07564471369699</c:v>
                </c:pt>
                <c:pt idx="1058">
                  <c:v>258.32092757851461</c:v>
                </c:pt>
                <c:pt idx="1059">
                  <c:v>259.95386057110926</c:v>
                </c:pt>
                <c:pt idx="1060">
                  <c:v>259.09203482501766</c:v>
                </c:pt>
                <c:pt idx="1061">
                  <c:v>256.98282970958292</c:v>
                </c:pt>
                <c:pt idx="1062">
                  <c:v>258.09413132954313</c:v>
                </c:pt>
                <c:pt idx="1063">
                  <c:v>259.45490882337202</c:v>
                </c:pt>
                <c:pt idx="1064">
                  <c:v>258.86523857604618</c:v>
                </c:pt>
                <c:pt idx="1065">
                  <c:v>256.59727608633136</c:v>
                </c:pt>
                <c:pt idx="1066">
                  <c:v>259.22811257440054</c:v>
                </c:pt>
                <c:pt idx="1067">
                  <c:v>263.31044505588716</c:v>
                </c:pt>
                <c:pt idx="1068">
                  <c:v>269.22982715404277</c:v>
                </c:pt>
                <c:pt idx="1069">
                  <c:v>266.73506841535647</c:v>
                </c:pt>
                <c:pt idx="1070">
                  <c:v>267.43813678716805</c:v>
                </c:pt>
                <c:pt idx="1071">
                  <c:v>265.57840754560192</c:v>
                </c:pt>
                <c:pt idx="1072">
                  <c:v>266.80310729004793</c:v>
                </c:pt>
                <c:pt idx="1073">
                  <c:v>265.62376679539625</c:v>
                </c:pt>
                <c:pt idx="1074">
                  <c:v>264.2856689264645</c:v>
                </c:pt>
                <c:pt idx="1075">
                  <c:v>263.08364880691568</c:v>
                </c:pt>
                <c:pt idx="1076">
                  <c:v>262.33522118530976</c:v>
                </c:pt>
                <c:pt idx="1077">
                  <c:v>262.44861930979556</c:v>
                </c:pt>
                <c:pt idx="1078">
                  <c:v>266.05467966844202</c:v>
                </c:pt>
                <c:pt idx="1079">
                  <c:v>265.8052037945734</c:v>
                </c:pt>
                <c:pt idx="1080">
                  <c:v>265.48768904601332</c:v>
                </c:pt>
                <c:pt idx="1081">
                  <c:v>261.4960750641153</c:v>
                </c:pt>
                <c:pt idx="1082">
                  <c:v>258.20752945402887</c:v>
                </c:pt>
                <c:pt idx="1083">
                  <c:v>264.67122254971605</c:v>
                </c:pt>
                <c:pt idx="1084">
                  <c:v>268.52675878223118</c:v>
                </c:pt>
                <c:pt idx="1085">
                  <c:v>276.39658862154153</c:v>
                </c:pt>
                <c:pt idx="1086">
                  <c:v>277.9614827394447</c:v>
                </c:pt>
                <c:pt idx="1087">
                  <c:v>278.25631786310765</c:v>
                </c:pt>
                <c:pt idx="1088">
                  <c:v>282.58812621846283</c:v>
                </c:pt>
                <c:pt idx="1089">
                  <c:v>278.77794923574203</c:v>
                </c:pt>
                <c:pt idx="1090">
                  <c:v>277.14501624314738</c:v>
                </c:pt>
                <c:pt idx="1091">
                  <c:v>274.44614088038679</c:v>
                </c:pt>
                <c:pt idx="1092">
                  <c:v>273.04000413676357</c:v>
                </c:pt>
                <c:pt idx="1093">
                  <c:v>272.2235376404663</c:v>
                </c:pt>
                <c:pt idx="1094">
                  <c:v>274.01522800734097</c:v>
                </c:pt>
                <c:pt idx="1095">
                  <c:v>274.65025750446108</c:v>
                </c:pt>
                <c:pt idx="1096">
                  <c:v>274.4234612554896</c:v>
                </c:pt>
                <c:pt idx="1097">
                  <c:v>274.65025750446108</c:v>
                </c:pt>
                <c:pt idx="1098">
                  <c:v>272.67713013840921</c:v>
                </c:pt>
                <c:pt idx="1099">
                  <c:v>268.36800140795111</c:v>
                </c:pt>
                <c:pt idx="1100">
                  <c:v>268.54943840712832</c:v>
                </c:pt>
                <c:pt idx="1101">
                  <c:v>274.60489825466681</c:v>
                </c:pt>
                <c:pt idx="1102">
                  <c:v>275.82959799911276</c:v>
                </c:pt>
                <c:pt idx="1103">
                  <c:v>272.24621726536344</c:v>
                </c:pt>
                <c:pt idx="1104">
                  <c:v>271.02151752091743</c:v>
                </c:pt>
                <c:pt idx="1105">
                  <c:v>268.84427353079127</c:v>
                </c:pt>
                <c:pt idx="1106">
                  <c:v>269.20714752914557</c:v>
                </c:pt>
                <c:pt idx="1107">
                  <c:v>273.31215963552938</c:v>
                </c:pt>
                <c:pt idx="1108">
                  <c:v>274.92241300322689</c:v>
                </c:pt>
                <c:pt idx="1109">
                  <c:v>276.26051087215859</c:v>
                </c:pt>
                <c:pt idx="1110">
                  <c:v>276.8275014945873</c:v>
                </c:pt>
                <c:pt idx="1111">
                  <c:v>283.26851496537728</c:v>
                </c:pt>
                <c:pt idx="1112">
                  <c:v>288.57554719130991</c:v>
                </c:pt>
                <c:pt idx="1113">
                  <c:v>290.75279118143612</c:v>
                </c:pt>
                <c:pt idx="1114">
                  <c:v>290.3218783083903</c:v>
                </c:pt>
                <c:pt idx="1115">
                  <c:v>291.97749092588208</c:v>
                </c:pt>
                <c:pt idx="1116">
                  <c:v>290.14044130921309</c:v>
                </c:pt>
                <c:pt idx="1117">
                  <c:v>288.62090644110424</c:v>
                </c:pt>
                <c:pt idx="1118">
                  <c:v>292.47644267361937</c:v>
                </c:pt>
                <c:pt idx="1119">
                  <c:v>291.02494668020188</c:v>
                </c:pt>
                <c:pt idx="1120">
                  <c:v>290.25383943369889</c:v>
                </c:pt>
                <c:pt idx="1121">
                  <c:v>288.30339169254415</c:v>
                </c:pt>
                <c:pt idx="1122">
                  <c:v>289.52809143699011</c:v>
                </c:pt>
                <c:pt idx="1123">
                  <c:v>284.40249621023469</c:v>
                </c:pt>
                <c:pt idx="1124">
                  <c:v>281.59022272298836</c:v>
                </c:pt>
                <c:pt idx="1125">
                  <c:v>283.0417187164058</c:v>
                </c:pt>
                <c:pt idx="1126">
                  <c:v>281.11395060014826</c:v>
                </c:pt>
                <c:pt idx="1127">
                  <c:v>278.25631786310765</c:v>
                </c:pt>
                <c:pt idx="1128">
                  <c:v>276.01103499828997</c:v>
                </c:pt>
                <c:pt idx="1129">
                  <c:v>277.46253099170747</c:v>
                </c:pt>
                <c:pt idx="1130">
                  <c:v>276.16979237257004</c:v>
                </c:pt>
                <c:pt idx="1131">
                  <c:v>270.81740089684308</c:v>
                </c:pt>
                <c:pt idx="1132">
                  <c:v>272.08745989108343</c:v>
                </c:pt>
                <c:pt idx="1133">
                  <c:v>271.79262476742048</c:v>
                </c:pt>
                <c:pt idx="1134">
                  <c:v>270.06897327523723</c:v>
                </c:pt>
                <c:pt idx="1135">
                  <c:v>268.73087540630547</c:v>
                </c:pt>
                <c:pt idx="1136">
                  <c:v>268.2999625332597</c:v>
                </c:pt>
                <c:pt idx="1137">
                  <c:v>271.65654701803754</c:v>
                </c:pt>
                <c:pt idx="1138">
                  <c:v>274.21934463141531</c:v>
                </c:pt>
                <c:pt idx="1139">
                  <c:v>267.89172928511101</c:v>
                </c:pt>
                <c:pt idx="1140">
                  <c:v>267.09794241371083</c:v>
                </c:pt>
                <c:pt idx="1141">
                  <c:v>261.26927881514382</c:v>
                </c:pt>
                <c:pt idx="1142">
                  <c:v>260.90640481678946</c:v>
                </c:pt>
                <c:pt idx="1143">
                  <c:v>260.77032706740658</c:v>
                </c:pt>
                <c:pt idx="1144">
                  <c:v>261.31463806493815</c:v>
                </c:pt>
                <c:pt idx="1145">
                  <c:v>256.86943158509712</c:v>
                </c:pt>
                <c:pt idx="1146">
                  <c:v>256.09832433859413</c:v>
                </c:pt>
                <c:pt idx="1147">
                  <c:v>259.6817050723435</c:v>
                </c:pt>
                <c:pt idx="1148">
                  <c:v>261.4960750641153</c:v>
                </c:pt>
                <c:pt idx="1149">
                  <c:v>259.25079219929768</c:v>
                </c:pt>
                <c:pt idx="1150">
                  <c:v>259.95386057110926</c:v>
                </c:pt>
                <c:pt idx="1151">
                  <c:v>261.58679356370391</c:v>
                </c:pt>
                <c:pt idx="1152">
                  <c:v>259.5002680731663</c:v>
                </c:pt>
                <c:pt idx="1153">
                  <c:v>261.06516219106953</c:v>
                </c:pt>
                <c:pt idx="1154">
                  <c:v>261.31463806493815</c:v>
                </c:pt>
                <c:pt idx="1155">
                  <c:v>261.33731768983529</c:v>
                </c:pt>
                <c:pt idx="1156">
                  <c:v>252.65102135422762</c:v>
                </c:pt>
                <c:pt idx="1157">
                  <c:v>246.77699850586632</c:v>
                </c:pt>
                <c:pt idx="1158">
                  <c:v>243.80596764433994</c:v>
                </c:pt>
                <c:pt idx="1159">
                  <c:v>252.92317685299341</c:v>
                </c:pt>
                <c:pt idx="1160">
                  <c:v>252.26546773097613</c:v>
                </c:pt>
                <c:pt idx="1161">
                  <c:v>254.26127472192513</c:v>
                </c:pt>
                <c:pt idx="1162">
                  <c:v>249.58927199311267</c:v>
                </c:pt>
                <c:pt idx="1163">
                  <c:v>253.87572109867361</c:v>
                </c:pt>
                <c:pt idx="1164">
                  <c:v>250.8366513624558</c:v>
                </c:pt>
                <c:pt idx="1165">
                  <c:v>247.88830012582656</c:v>
                </c:pt>
                <c:pt idx="1166">
                  <c:v>246.07393013405473</c:v>
                </c:pt>
                <c:pt idx="1167">
                  <c:v>248.36457224866672</c:v>
                </c:pt>
                <c:pt idx="1168">
                  <c:v>242.6946660243797</c:v>
                </c:pt>
                <c:pt idx="1169">
                  <c:v>242.2183939015396</c:v>
                </c:pt>
                <c:pt idx="1170">
                  <c:v>236.97940055029844</c:v>
                </c:pt>
                <c:pt idx="1171">
                  <c:v>235.41450643239523</c:v>
                </c:pt>
                <c:pt idx="1172">
                  <c:v>237.65978929721285</c:v>
                </c:pt>
                <c:pt idx="1173">
                  <c:v>240.49474240935638</c:v>
                </c:pt>
                <c:pt idx="1174">
                  <c:v>237.72782817190432</c:v>
                </c:pt>
                <c:pt idx="1175">
                  <c:v>236.77528392622409</c:v>
                </c:pt>
                <c:pt idx="1176">
                  <c:v>234.80215656017225</c:v>
                </c:pt>
                <c:pt idx="1177">
                  <c:v>236.57116730214977</c:v>
                </c:pt>
                <c:pt idx="1178">
                  <c:v>234.57536031120077</c:v>
                </c:pt>
                <c:pt idx="1179">
                  <c:v>234.28052518753782</c:v>
                </c:pt>
                <c:pt idx="1180">
                  <c:v>232.94242731860612</c:v>
                </c:pt>
                <c:pt idx="1181">
                  <c:v>233.6001364406234</c:v>
                </c:pt>
                <c:pt idx="1182">
                  <c:v>233.14654394268044</c:v>
                </c:pt>
                <c:pt idx="1183">
                  <c:v>231.46825170029152</c:v>
                </c:pt>
                <c:pt idx="1184">
                  <c:v>233.50941794103483</c:v>
                </c:pt>
                <c:pt idx="1185">
                  <c:v>233.87229193938919</c:v>
                </c:pt>
                <c:pt idx="1186">
                  <c:v>231.37753320070291</c:v>
                </c:pt>
                <c:pt idx="1187">
                  <c:v>226.81892859637617</c:v>
                </c:pt>
                <c:pt idx="1188">
                  <c:v>227.09108409514192</c:v>
                </c:pt>
                <c:pt idx="1189">
                  <c:v>229.54048358403392</c:v>
                </c:pt>
                <c:pt idx="1190">
                  <c:v>228.88277446201664</c:v>
                </c:pt>
                <c:pt idx="1191">
                  <c:v>221.71601299451788</c:v>
                </c:pt>
                <c:pt idx="1192">
                  <c:v>228.24774496489647</c:v>
                </c:pt>
                <c:pt idx="1193">
                  <c:v>224.9365197299129</c:v>
                </c:pt>
                <c:pt idx="1194">
                  <c:v>228.11166721551359</c:v>
                </c:pt>
                <c:pt idx="1195">
                  <c:v>231.10537770193713</c:v>
                </c:pt>
                <c:pt idx="1196">
                  <c:v>231.10537770193713</c:v>
                </c:pt>
                <c:pt idx="1197">
                  <c:v>230.90126107786281</c:v>
                </c:pt>
                <c:pt idx="1198">
                  <c:v>238.13606142005298</c:v>
                </c:pt>
                <c:pt idx="1199">
                  <c:v>233.84961231449202</c:v>
                </c:pt>
                <c:pt idx="1200">
                  <c:v>234.77947693527508</c:v>
                </c:pt>
                <c:pt idx="1201">
                  <c:v>239.49683891388185</c:v>
                </c:pt>
                <c:pt idx="1202">
                  <c:v>243.39773439619128</c:v>
                </c:pt>
                <c:pt idx="1203">
                  <c:v>244.93994888919735</c:v>
                </c:pt>
                <c:pt idx="1204">
                  <c:v>242.76270489907117</c:v>
                </c:pt>
                <c:pt idx="1205">
                  <c:v>241.49264590483085</c:v>
                </c:pt>
                <c:pt idx="1206">
                  <c:v>239.95043141182481</c:v>
                </c:pt>
                <c:pt idx="1207">
                  <c:v>242.67198639948256</c:v>
                </c:pt>
                <c:pt idx="1208">
                  <c:v>243.53381214557416</c:v>
                </c:pt>
                <c:pt idx="1209">
                  <c:v>243.03486039783689</c:v>
                </c:pt>
                <c:pt idx="1210">
                  <c:v>238.907168666556</c:v>
                </c:pt>
                <c:pt idx="1211">
                  <c:v>232.73831069453178</c:v>
                </c:pt>
                <c:pt idx="1212">
                  <c:v>231.87648494844018</c:v>
                </c:pt>
                <c:pt idx="1213">
                  <c:v>228.88277446201664</c:v>
                </c:pt>
                <c:pt idx="1214">
                  <c:v>231.24145545132001</c:v>
                </c:pt>
                <c:pt idx="1215">
                  <c:v>225.20867522867869</c:v>
                </c:pt>
                <c:pt idx="1216">
                  <c:v>227.24984146942199</c:v>
                </c:pt>
                <c:pt idx="1217">
                  <c:v>231.01465920234853</c:v>
                </c:pt>
                <c:pt idx="1218">
                  <c:v>234.87019543486366</c:v>
                </c:pt>
                <c:pt idx="1219">
                  <c:v>230.47034820481699</c:v>
                </c:pt>
                <c:pt idx="1220">
                  <c:v>233.35066056675475</c:v>
                </c:pt>
                <c:pt idx="1221">
                  <c:v>234.73411768548078</c:v>
                </c:pt>
                <c:pt idx="1222">
                  <c:v>237.72782817190432</c:v>
                </c:pt>
                <c:pt idx="1223">
                  <c:v>234.05372893856637</c:v>
                </c:pt>
                <c:pt idx="1224">
                  <c:v>241.26584965585937</c:v>
                </c:pt>
                <c:pt idx="1225">
                  <c:v>241.99159765256812</c:v>
                </c:pt>
                <c:pt idx="1226">
                  <c:v>238.61233354289308</c:v>
                </c:pt>
                <c:pt idx="1227">
                  <c:v>239.40612041429324</c:v>
                </c:pt>
                <c:pt idx="1228">
                  <c:v>242.39983090071681</c:v>
                </c:pt>
                <c:pt idx="1229">
                  <c:v>239.04324641593888</c:v>
                </c:pt>
                <c:pt idx="1230">
                  <c:v>237.68246892211002</c:v>
                </c:pt>
                <c:pt idx="1231">
                  <c:v>235.36914718260093</c:v>
                </c:pt>
                <c:pt idx="1232">
                  <c:v>235.21038980832091</c:v>
                </c:pt>
                <c:pt idx="1233">
                  <c:v>239.22468341511606</c:v>
                </c:pt>
                <c:pt idx="1234">
                  <c:v>240.17722766079629</c:v>
                </c:pt>
                <c:pt idx="1235">
                  <c:v>237.36495417354996</c:v>
                </c:pt>
                <c:pt idx="1236">
                  <c:v>236.75260430132695</c:v>
                </c:pt>
                <c:pt idx="1237">
                  <c:v>234.91555468465796</c:v>
                </c:pt>
                <c:pt idx="1238">
                  <c:v>234.09908818836067</c:v>
                </c:pt>
                <c:pt idx="1239">
                  <c:v>232.94242731860612</c:v>
                </c:pt>
                <c:pt idx="1240">
                  <c:v>233.03314581819473</c:v>
                </c:pt>
                <c:pt idx="1241">
                  <c:v>233.5547771908291</c:v>
                </c:pt>
                <c:pt idx="1242">
                  <c:v>234.30320481243498</c:v>
                </c:pt>
                <c:pt idx="1243">
                  <c:v>229.20028921057673</c:v>
                </c:pt>
                <c:pt idx="1244">
                  <c:v>226.79624897147903</c:v>
                </c:pt>
                <c:pt idx="1245">
                  <c:v>226.34265647353607</c:v>
                </c:pt>
                <c:pt idx="1246">
                  <c:v>223.77985886015836</c:v>
                </c:pt>
                <c:pt idx="1247">
                  <c:v>223.66646073567262</c:v>
                </c:pt>
                <c:pt idx="1248">
                  <c:v>221.0129446227063</c:v>
                </c:pt>
                <c:pt idx="1249">
                  <c:v>218.85838025747728</c:v>
                </c:pt>
                <c:pt idx="1250">
                  <c:v>216.13682526981952</c:v>
                </c:pt>
                <c:pt idx="1251">
                  <c:v>213.18847403319029</c:v>
                </c:pt>
                <c:pt idx="1252">
                  <c:v>211.78233728956712</c:v>
                </c:pt>
                <c:pt idx="1253">
                  <c:v>209.10614155170367</c:v>
                </c:pt>
                <c:pt idx="1254">
                  <c:v>212.73488153524733</c:v>
                </c:pt>
                <c:pt idx="1255">
                  <c:v>204.81969244614268</c:v>
                </c:pt>
                <c:pt idx="1256">
                  <c:v>205.34132381877711</c:v>
                </c:pt>
                <c:pt idx="1257">
                  <c:v>205.97635331589723</c:v>
                </c:pt>
                <c:pt idx="1258">
                  <c:v>211.69161878997852</c:v>
                </c:pt>
                <c:pt idx="1259">
                  <c:v>210.28548204635533</c:v>
                </c:pt>
                <c:pt idx="1260">
                  <c:v>208.44843242968639</c:v>
                </c:pt>
                <c:pt idx="1261">
                  <c:v>209.51437479985233</c:v>
                </c:pt>
                <c:pt idx="1262">
                  <c:v>208.15359730602344</c:v>
                </c:pt>
                <c:pt idx="1263">
                  <c:v>205.25060531918854</c:v>
                </c:pt>
                <c:pt idx="1264">
                  <c:v>210.28548204635533</c:v>
                </c:pt>
                <c:pt idx="1265">
                  <c:v>208.31235468030349</c:v>
                </c:pt>
                <c:pt idx="1266">
                  <c:v>207.17837343544608</c:v>
                </c:pt>
                <c:pt idx="1267">
                  <c:v>209.55973404964664</c:v>
                </c:pt>
                <c:pt idx="1268">
                  <c:v>207.38249005952042</c:v>
                </c:pt>
                <c:pt idx="1269">
                  <c:v>211.69161878997852</c:v>
                </c:pt>
                <c:pt idx="1270">
                  <c:v>210.46691904553251</c:v>
                </c:pt>
                <c:pt idx="1271">
                  <c:v>208.01751955664059</c:v>
                </c:pt>
                <c:pt idx="1272">
                  <c:v>207.88144180725769</c:v>
                </c:pt>
                <c:pt idx="1273">
                  <c:v>206.38458656404589</c:v>
                </c:pt>
                <c:pt idx="1274">
                  <c:v>210.9205115434755</c:v>
                </c:pt>
                <c:pt idx="1275">
                  <c:v>212.7802407850416</c:v>
                </c:pt>
                <c:pt idx="1276">
                  <c:v>211.94109466384714</c:v>
                </c:pt>
                <c:pt idx="1277">
                  <c:v>212.28128903730439</c:v>
                </c:pt>
                <c:pt idx="1278">
                  <c:v>211.62357991528705</c:v>
                </c:pt>
                <c:pt idx="1279">
                  <c:v>212.50808528627581</c:v>
                </c:pt>
                <c:pt idx="1280">
                  <c:v>213.86886278010473</c:v>
                </c:pt>
                <c:pt idx="1281">
                  <c:v>213.27919253277886</c:v>
                </c:pt>
                <c:pt idx="1282">
                  <c:v>210.69371529450399</c:v>
                </c:pt>
                <c:pt idx="1283">
                  <c:v>210.78443379409259</c:v>
                </c:pt>
                <c:pt idx="1284">
                  <c:v>208.65254905376071</c:v>
                </c:pt>
                <c:pt idx="1285">
                  <c:v>204.75165357145127</c:v>
                </c:pt>
                <c:pt idx="1286">
                  <c:v>203.50427420210812</c:v>
                </c:pt>
                <c:pt idx="1287">
                  <c:v>199.69409721938729</c:v>
                </c:pt>
                <c:pt idx="1288">
                  <c:v>197.5395328541582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9418112"/>
        <c:axId val="79419648"/>
      </c:lineChart>
      <c:dateAx>
        <c:axId val="79418112"/>
        <c:scaling>
          <c:orientation val="minMax"/>
          <c:max val="42382"/>
          <c:min val="40545"/>
        </c:scaling>
        <c:delete val="0"/>
        <c:axPos val="b"/>
        <c:numFmt formatCode="mmm\ yyyy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24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s-CL"/>
          </a:p>
        </c:txPr>
        <c:crossAx val="79419648"/>
        <c:crosses val="autoZero"/>
        <c:auto val="1"/>
        <c:lblOffset val="100"/>
        <c:baseTimeUnit val="days"/>
        <c:majorUnit val="12"/>
        <c:majorTimeUnit val="months"/>
        <c:minorUnit val="1"/>
        <c:minorTimeUnit val="months"/>
      </c:dateAx>
      <c:valAx>
        <c:axId val="79419648"/>
        <c:scaling>
          <c:orientation val="minMax"/>
          <c:max val="480"/>
          <c:min val="18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txPr>
          <a:bodyPr rot="0" vert="horz"/>
          <a:lstStyle/>
          <a:p>
            <a:pPr>
              <a:defRPr sz="1224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s-CL"/>
          </a:p>
        </c:txPr>
        <c:crossAx val="79418112"/>
        <c:crosses val="autoZero"/>
        <c:crossBetween val="midCat"/>
        <c:majorUnit val="20"/>
        <c:minorUnit val="20"/>
      </c:valAx>
      <c:spPr>
        <a:noFill/>
        <a:ln w="25379">
          <a:noFill/>
        </a:ln>
      </c:spPr>
    </c:plotArea>
    <c:plotVisOnly val="1"/>
    <c:dispBlanksAs val="gap"/>
    <c:showDLblsOverMax val="0"/>
  </c:chart>
  <c:txPr>
    <a:bodyPr/>
    <a:lstStyle/>
    <a:p>
      <a:pPr>
        <a:defRPr sz="1834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s-CL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59386672587125"/>
          <c:y val="6.518472894911205E-2"/>
          <c:w val="0.84392841540265517"/>
          <c:h val="0.65790522317720723"/>
        </c:manualLayout>
      </c:layout>
      <c:lineChart>
        <c:grouping val="standard"/>
        <c:varyColors val="0"/>
        <c:ser>
          <c:idx val="2"/>
          <c:order val="0"/>
          <c:tx>
            <c:strRef>
              <c:f>Hoja1!$A$4</c:f>
              <c:strCache>
                <c:ptCount val="1"/>
                <c:pt idx="0">
                  <c:v>Consensus Diciembre 2015</c:v>
                </c:pt>
              </c:strCache>
            </c:strRef>
          </c:tx>
          <c:spPr>
            <a:ln w="28575">
              <a:solidFill>
                <a:srgbClr val="A1DA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B$4:$L$4</c:f>
              <c:numCache>
                <c:formatCode>General</c:formatCode>
                <c:ptCount val="9"/>
                <c:pt idx="0">
                  <c:v>3.4210681099999998</c:v>
                </c:pt>
                <c:pt idx="1">
                  <c:v>3.3151639899999998</c:v>
                </c:pt>
                <c:pt idx="2">
                  <c:v>3.4213515599999997</c:v>
                </c:pt>
                <c:pt idx="3">
                  <c:v>3.1113145299999996</c:v>
                </c:pt>
                <c:pt idx="4">
                  <c:v>3.5463971499999998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Hoja1!$A$5</c:f>
              <c:strCache>
                <c:ptCount val="1"/>
                <c:pt idx="0">
                  <c:v>FMI Abril 2015</c:v>
                </c:pt>
              </c:strCache>
            </c:strRef>
          </c:tx>
          <c:spPr>
            <a:ln>
              <a:solidFill>
                <a:srgbClr val="DAA6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5:$L$5</c:f>
              <c:numCache>
                <c:formatCode>General</c:formatCode>
                <c:ptCount val="9"/>
                <c:pt idx="0">
                  <c:v>3.3976237200000003</c:v>
                </c:pt>
                <c:pt idx="1">
                  <c:v>3.4043819800000006</c:v>
                </c:pt>
                <c:pt idx="2">
                  <c:v>3.3829608099999997</c:v>
                </c:pt>
                <c:pt idx="3">
                  <c:v>3.4472710499999999</c:v>
                </c:pt>
                <c:pt idx="4">
                  <c:v>3.75583343</c:v>
                </c:pt>
                <c:pt idx="5">
                  <c:v>3.84592176</c:v>
                </c:pt>
                <c:pt idx="6">
                  <c:v>3.8722278399999999</c:v>
                </c:pt>
                <c:pt idx="7">
                  <c:v>3.9270562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Hoja1!$A$2</c:f>
              <c:strCache>
                <c:ptCount val="1"/>
                <c:pt idx="0">
                  <c:v>FMI Octubre 2015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2:$L$2</c:f>
              <c:numCache>
                <c:formatCode>General</c:formatCode>
                <c:ptCount val="9"/>
                <c:pt idx="0">
                  <c:v>3.4187488200000007</c:v>
                </c:pt>
                <c:pt idx="1">
                  <c:v>3.3031179400000004</c:v>
                </c:pt>
                <c:pt idx="2">
                  <c:v>3.4225751400000002</c:v>
                </c:pt>
                <c:pt idx="3">
                  <c:v>3.1193920100000003</c:v>
                </c:pt>
                <c:pt idx="4">
                  <c:v>3.5575556599999993</c:v>
                </c:pt>
                <c:pt idx="5">
                  <c:v>3.80323404</c:v>
                </c:pt>
                <c:pt idx="6">
                  <c:v>3.9022535400000002</c:v>
                </c:pt>
                <c:pt idx="7">
                  <c:v>3.9562844500000001</c:v>
                </c:pt>
                <c:pt idx="8">
                  <c:v>3.96824213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066304"/>
        <c:axId val="84067840"/>
      </c:lineChart>
      <c:catAx>
        <c:axId val="8406630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800" b="0"/>
            </a:pPr>
            <a:endParaRPr lang="es-CL"/>
          </a:p>
        </c:txPr>
        <c:crossAx val="84067840"/>
        <c:crosses val="autoZero"/>
        <c:auto val="1"/>
        <c:lblAlgn val="ctr"/>
        <c:lblOffset val="100"/>
        <c:tickLblSkip val="2"/>
        <c:noMultiLvlLbl val="0"/>
      </c:catAx>
      <c:valAx>
        <c:axId val="84067840"/>
        <c:scaling>
          <c:orientation val="minMax"/>
          <c:max val="4.3"/>
          <c:min val="2.8"/>
        </c:scaling>
        <c:delete val="0"/>
        <c:axPos val="l"/>
        <c:majorGridlines>
          <c:spPr>
            <a:ln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#,##0.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900" b="0"/>
            </a:pPr>
            <a:endParaRPr lang="es-CL"/>
          </a:p>
        </c:txPr>
        <c:crossAx val="84066304"/>
        <c:crosses val="autoZero"/>
        <c:crossBetween val="between"/>
        <c:majorUnit val="0.2"/>
      </c:valAx>
    </c:plotArea>
    <c:legend>
      <c:legendPos val="b"/>
      <c:layout>
        <c:manualLayout>
          <c:xMode val="edge"/>
          <c:yMode val="edge"/>
          <c:x val="0"/>
          <c:y val="0.82538051643849675"/>
          <c:w val="1"/>
          <c:h val="0.17461936691023452"/>
        </c:manualLayout>
      </c:layout>
      <c:overlay val="0"/>
      <c:txPr>
        <a:bodyPr/>
        <a:lstStyle/>
        <a:p>
          <a:pPr>
            <a:defRPr sz="700"/>
          </a:pPr>
          <a:endParaRPr lang="es-C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59386672587125"/>
          <c:y val="6.518472894911205E-2"/>
          <c:w val="0.84392841540265517"/>
          <c:h val="0.65790522317720723"/>
        </c:manualLayout>
      </c:layout>
      <c:lineChart>
        <c:grouping val="standard"/>
        <c:varyColors val="0"/>
        <c:ser>
          <c:idx val="2"/>
          <c:order val="0"/>
          <c:tx>
            <c:strRef>
              <c:f>Hoja1!$A$4</c:f>
              <c:strCache>
                <c:ptCount val="1"/>
                <c:pt idx="0">
                  <c:v>Consensus Diciembre 2015</c:v>
                </c:pt>
              </c:strCache>
            </c:strRef>
          </c:tx>
          <c:spPr>
            <a:ln>
              <a:solidFill>
                <a:srgbClr val="A1DA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4:$K$4</c:f>
              <c:numCache>
                <c:formatCode>General</c:formatCode>
                <c:ptCount val="8"/>
                <c:pt idx="0">
                  <c:v>7.7</c:v>
                </c:pt>
                <c:pt idx="1">
                  <c:v>7.7</c:v>
                </c:pt>
                <c:pt idx="2">
                  <c:v>7.3</c:v>
                </c:pt>
                <c:pt idx="3">
                  <c:v>6.9</c:v>
                </c:pt>
                <c:pt idx="4">
                  <c:v>6.5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Hoja1!$A$5</c:f>
              <c:strCache>
                <c:ptCount val="1"/>
                <c:pt idx="0">
                  <c:v>FMI Abril 2015</c:v>
                </c:pt>
              </c:strCache>
            </c:strRef>
          </c:tx>
          <c:spPr>
            <a:ln>
              <a:solidFill>
                <a:srgbClr val="DAA6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5:$K$5</c:f>
              <c:numCache>
                <c:formatCode>General</c:formatCode>
                <c:ptCount val="8"/>
                <c:pt idx="0">
                  <c:v>7.7629999999999999</c:v>
                </c:pt>
                <c:pt idx="1">
                  <c:v>7.7510000000000003</c:v>
                </c:pt>
                <c:pt idx="2">
                  <c:v>7.3639999999999999</c:v>
                </c:pt>
                <c:pt idx="3">
                  <c:v>6.7619999999999996</c:v>
                </c:pt>
                <c:pt idx="4">
                  <c:v>6.3</c:v>
                </c:pt>
                <c:pt idx="5">
                  <c:v>6</c:v>
                </c:pt>
                <c:pt idx="6">
                  <c:v>6.1</c:v>
                </c:pt>
                <c:pt idx="7">
                  <c:v>6.3330000000000002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Hoja1!$A$2</c:f>
              <c:strCache>
                <c:ptCount val="1"/>
                <c:pt idx="0">
                  <c:v>FMI Octubre 2015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2:$L$2</c:f>
              <c:numCache>
                <c:formatCode>General</c:formatCode>
                <c:ptCount val="9"/>
                <c:pt idx="0">
                  <c:v>7.7480000000000002</c:v>
                </c:pt>
                <c:pt idx="1">
                  <c:v>7.6849999999999996</c:v>
                </c:pt>
                <c:pt idx="2">
                  <c:v>7.3</c:v>
                </c:pt>
                <c:pt idx="3">
                  <c:v>6.8129999999999997</c:v>
                </c:pt>
                <c:pt idx="4">
                  <c:v>6.3</c:v>
                </c:pt>
                <c:pt idx="5">
                  <c:v>6</c:v>
                </c:pt>
                <c:pt idx="6">
                  <c:v>6.1</c:v>
                </c:pt>
                <c:pt idx="7">
                  <c:v>6.3330000000000002</c:v>
                </c:pt>
                <c:pt idx="8">
                  <c:v>6.333000000000000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138624"/>
        <c:axId val="84140416"/>
      </c:lineChart>
      <c:catAx>
        <c:axId val="84138624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800" b="0"/>
            </a:pPr>
            <a:endParaRPr lang="es-CL"/>
          </a:p>
        </c:txPr>
        <c:crossAx val="84140416"/>
        <c:crosses val="autoZero"/>
        <c:auto val="1"/>
        <c:lblAlgn val="ctr"/>
        <c:lblOffset val="100"/>
        <c:noMultiLvlLbl val="0"/>
      </c:catAx>
      <c:valAx>
        <c:axId val="84140416"/>
        <c:scaling>
          <c:orientation val="minMax"/>
          <c:min val="5.5"/>
        </c:scaling>
        <c:delete val="0"/>
        <c:axPos val="l"/>
        <c:majorGridlines>
          <c:spPr>
            <a:ln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#,##0.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900" b="0"/>
            </a:pPr>
            <a:endParaRPr lang="es-CL"/>
          </a:p>
        </c:txPr>
        <c:crossAx val="841386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"/>
          <c:y val="0.82538051643849675"/>
          <c:w val="0.99763952088556873"/>
          <c:h val="0.13906417686198755"/>
        </c:manualLayout>
      </c:layout>
      <c:overlay val="0"/>
      <c:txPr>
        <a:bodyPr/>
        <a:lstStyle/>
        <a:p>
          <a:pPr>
            <a:defRPr sz="700"/>
          </a:pPr>
          <a:endParaRPr lang="es-C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59386672587125"/>
          <c:y val="6.518472894911205E-2"/>
          <c:w val="0.84392841540265517"/>
          <c:h val="0.64884885959845695"/>
        </c:manualLayout>
      </c:layout>
      <c:lineChart>
        <c:grouping val="standard"/>
        <c:varyColors val="0"/>
        <c:ser>
          <c:idx val="2"/>
          <c:order val="0"/>
          <c:tx>
            <c:strRef>
              <c:f>Hoja1!$A$4</c:f>
              <c:strCache>
                <c:ptCount val="1"/>
                <c:pt idx="0">
                  <c:v>Consensus Diciembre 2015</c:v>
                </c:pt>
              </c:strCache>
            </c:strRef>
          </c:tx>
          <c:spPr>
            <a:ln w="28575">
              <a:solidFill>
                <a:srgbClr val="A1DA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4:$K$4</c:f>
              <c:numCache>
                <c:formatCode>General</c:formatCode>
                <c:ptCount val="8"/>
                <c:pt idx="0">
                  <c:v>1.1909254070854258</c:v>
                </c:pt>
                <c:pt idx="1">
                  <c:v>1.155456275862069</c:v>
                </c:pt>
                <c:pt idx="2">
                  <c:v>1.8160802436008119</c:v>
                </c:pt>
                <c:pt idx="3">
                  <c:v>1.9235208505221468</c:v>
                </c:pt>
                <c:pt idx="4">
                  <c:v>2.0957142925338936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Hoja1!$A$5</c:f>
              <c:strCache>
                <c:ptCount val="1"/>
                <c:pt idx="0">
                  <c:v>FMI Abril 2015</c:v>
                </c:pt>
              </c:strCache>
            </c:strRef>
          </c:tx>
          <c:spPr>
            <a:ln>
              <a:solidFill>
                <a:srgbClr val="DAA6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5:$K$5</c:f>
              <c:numCache>
                <c:formatCode>General</c:formatCode>
                <c:ptCount val="8"/>
                <c:pt idx="0">
                  <c:v>1.209900753093061</c:v>
                </c:pt>
                <c:pt idx="1">
                  <c:v>1.3578115988392023</c:v>
                </c:pt>
                <c:pt idx="2">
                  <c:v>1.7908738231065351</c:v>
                </c:pt>
                <c:pt idx="3">
                  <c:v>2.3551776939831837</c:v>
                </c:pt>
                <c:pt idx="4">
                  <c:v>2.4099204041458151</c:v>
                </c:pt>
                <c:pt idx="5">
                  <c:v>2.1800304534284201</c:v>
                </c:pt>
                <c:pt idx="6">
                  <c:v>2.0781414007743959</c:v>
                </c:pt>
                <c:pt idx="7">
                  <c:v>1.958826546153654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Hoja1!$A$2</c:f>
              <c:strCache>
                <c:ptCount val="1"/>
                <c:pt idx="0">
                  <c:v>FMI Octubre 2015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2:$L$2</c:f>
              <c:numCache>
                <c:formatCode>General</c:formatCode>
                <c:ptCount val="9"/>
                <c:pt idx="0">
                  <c:v>1.1744891556496475</c:v>
                </c:pt>
                <c:pt idx="1">
                  <c:v>1.1302941149425287</c:v>
                </c:pt>
                <c:pt idx="2">
                  <c:v>1.8179992999976666</c:v>
                </c:pt>
                <c:pt idx="3">
                  <c:v>1.9716288159166449</c:v>
                </c:pt>
                <c:pt idx="4">
                  <c:v>2.222777496658392</c:v>
                </c:pt>
                <c:pt idx="5">
                  <c:v>2.2271983719352653</c:v>
                </c:pt>
                <c:pt idx="6">
                  <c:v>2.1887067050799049</c:v>
                </c:pt>
                <c:pt idx="7">
                  <c:v>2.0328738119718133</c:v>
                </c:pt>
                <c:pt idx="8">
                  <c:v>1.90348836376655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162048"/>
        <c:axId val="84163584"/>
      </c:lineChart>
      <c:catAx>
        <c:axId val="8416204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800" b="0"/>
            </a:pPr>
            <a:endParaRPr lang="es-CL"/>
          </a:p>
        </c:txPr>
        <c:crossAx val="84163584"/>
        <c:crossesAt val="-1"/>
        <c:auto val="1"/>
        <c:lblAlgn val="ctr"/>
        <c:lblOffset val="100"/>
        <c:tickLblSkip val="2"/>
        <c:noMultiLvlLbl val="0"/>
      </c:catAx>
      <c:valAx>
        <c:axId val="84163584"/>
        <c:scaling>
          <c:orientation val="minMax"/>
          <c:max val="2.6"/>
          <c:min val="1"/>
        </c:scaling>
        <c:delete val="0"/>
        <c:axPos val="l"/>
        <c:majorGridlines>
          <c:spPr>
            <a:ln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#,##0.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900" b="0"/>
            </a:pPr>
            <a:endParaRPr lang="es-CL"/>
          </a:p>
        </c:txPr>
        <c:crossAx val="84162048"/>
        <c:crosses val="autoZero"/>
        <c:crossBetween val="between"/>
        <c:majorUnit val="0.2"/>
      </c:valAx>
    </c:plotArea>
    <c:legend>
      <c:legendPos val="b"/>
      <c:layout>
        <c:manualLayout>
          <c:xMode val="edge"/>
          <c:yMode val="edge"/>
          <c:x val="0"/>
          <c:y val="0.82314454854892427"/>
          <c:w val="0.98110216893230562"/>
          <c:h val="0.17685545145107573"/>
        </c:manualLayout>
      </c:layout>
      <c:overlay val="0"/>
      <c:txPr>
        <a:bodyPr/>
        <a:lstStyle/>
        <a:p>
          <a:pPr>
            <a:defRPr sz="700"/>
          </a:pPr>
          <a:endParaRPr lang="es-C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59386672587125"/>
          <c:y val="6.518472894911205E-2"/>
          <c:w val="0.84392841540265517"/>
          <c:h val="0.65369238589837331"/>
        </c:manualLayout>
      </c:layout>
      <c:lineChart>
        <c:grouping val="standard"/>
        <c:varyColors val="0"/>
        <c:ser>
          <c:idx val="2"/>
          <c:order val="0"/>
          <c:tx>
            <c:strRef>
              <c:f>Hoja1!$A$4</c:f>
              <c:strCache>
                <c:ptCount val="1"/>
                <c:pt idx="0">
                  <c:v>Consensus Diciembre 2015</c:v>
                </c:pt>
              </c:strCache>
            </c:strRef>
          </c:tx>
          <c:spPr>
            <a:ln w="28575">
              <a:solidFill>
                <a:srgbClr val="A1DA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B$4:$L$4</c:f>
              <c:numCache>
                <c:formatCode>General</c:formatCode>
                <c:ptCount val="9"/>
                <c:pt idx="0">
                  <c:v>4.2492144010733721</c:v>
                </c:pt>
                <c:pt idx="1">
                  <c:v>3.9010683479893293</c:v>
                </c:pt>
                <c:pt idx="2">
                  <c:v>3.5274647035592634</c:v>
                </c:pt>
                <c:pt idx="3">
                  <c:v>2.7411094997273042</c:v>
                </c:pt>
                <c:pt idx="4">
                  <c:v>3.7562732133574266</c:v>
                </c:pt>
              </c:numCache>
            </c:numRef>
          </c:val>
          <c:smooth val="0"/>
        </c:ser>
        <c:ser>
          <c:idx val="3"/>
          <c:order val="1"/>
          <c:tx>
            <c:strRef>
              <c:f>Hoja1!$A$5</c:f>
              <c:strCache>
                <c:ptCount val="1"/>
                <c:pt idx="0">
                  <c:v>FMI Abril 2015</c:v>
                </c:pt>
              </c:strCache>
            </c:strRef>
          </c:tx>
          <c:spPr>
            <a:ln>
              <a:solidFill>
                <a:srgbClr val="DAA6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5:$L$5</c:f>
              <c:numCache>
                <c:formatCode>General</c:formatCode>
                <c:ptCount val="9"/>
                <c:pt idx="0">
                  <c:v>4.187667625613809</c:v>
                </c:pt>
                <c:pt idx="1">
                  <c:v>3.9297145817912664</c:v>
                </c:pt>
                <c:pt idx="2">
                  <c:v>3.4733955713369817</c:v>
                </c:pt>
                <c:pt idx="3">
                  <c:v>3.2183755656108599</c:v>
                </c:pt>
                <c:pt idx="4">
                  <c:v>4.0710022931255558</c:v>
                </c:pt>
                <c:pt idx="5">
                  <c:v>4.608001762761659</c:v>
                </c:pt>
                <c:pt idx="6">
                  <c:v>4.6747648387958884</c:v>
                </c:pt>
                <c:pt idx="7">
                  <c:v>4.7565355042421906</c:v>
                </c:pt>
              </c:numCache>
            </c:numRef>
          </c:val>
          <c:smooth val="0"/>
        </c:ser>
        <c:ser>
          <c:idx val="0"/>
          <c:order val="2"/>
          <c:tx>
            <c:strRef>
              <c:f>Hoja1!$A$2</c:f>
              <c:strCache>
                <c:ptCount val="1"/>
                <c:pt idx="0">
                  <c:v>FMI Octubre 2015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Hoja1!$D$1:$L$1</c:f>
              <c:strCache>
                <c:ptCount val="9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</c:strCache>
            </c:strRef>
          </c:cat>
          <c:val>
            <c:numRef>
              <c:f>Hoja1!$D$2:$L$2</c:f>
              <c:numCache>
                <c:formatCode>General</c:formatCode>
                <c:ptCount val="9"/>
                <c:pt idx="0">
                  <c:v>4.2432751012497825</c:v>
                </c:pt>
                <c:pt idx="1">
                  <c:v>3.9042841616441066</c:v>
                </c:pt>
                <c:pt idx="2">
                  <c:v>3.5284548057461622</c:v>
                </c:pt>
                <c:pt idx="3">
                  <c:v>2.7477267588874015</c:v>
                </c:pt>
                <c:pt idx="4">
                  <c:v>3.7397821620417351</c:v>
                </c:pt>
                <c:pt idx="5">
                  <c:v>4.4262228128460679</c:v>
                </c:pt>
                <c:pt idx="6">
                  <c:v>4.6105569787338059</c:v>
                </c:pt>
                <c:pt idx="7">
                  <c:v>4.7268217795355847</c:v>
                </c:pt>
                <c:pt idx="8">
                  <c:v>4.810110282083372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251008"/>
        <c:axId val="84252544"/>
      </c:lineChart>
      <c:catAx>
        <c:axId val="8425100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800" b="0"/>
            </a:pPr>
            <a:endParaRPr lang="es-CL"/>
          </a:p>
        </c:txPr>
        <c:crossAx val="84252544"/>
        <c:crossesAt val="-2"/>
        <c:auto val="1"/>
        <c:lblAlgn val="ctr"/>
        <c:lblOffset val="100"/>
        <c:tickLblSkip val="2"/>
        <c:noMultiLvlLbl val="0"/>
      </c:catAx>
      <c:valAx>
        <c:axId val="84252544"/>
        <c:scaling>
          <c:orientation val="minMax"/>
          <c:min val="2.5"/>
        </c:scaling>
        <c:delete val="0"/>
        <c:axPos val="l"/>
        <c:majorGridlines>
          <c:spPr>
            <a:ln>
              <a:solidFill>
                <a:sysClr val="window" lastClr="FFFFFF">
                  <a:lumMod val="75000"/>
                </a:sysClr>
              </a:solidFill>
            </a:ln>
          </c:spPr>
        </c:majorGridlines>
        <c:numFmt formatCode="#,##0.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900" b="0"/>
            </a:pPr>
            <a:endParaRPr lang="es-CL"/>
          </a:p>
        </c:txPr>
        <c:crossAx val="84251008"/>
        <c:crosses val="autoZero"/>
        <c:crossBetween val="between"/>
        <c:majorUnit val="0.4"/>
      </c:valAx>
    </c:plotArea>
    <c:legend>
      <c:legendPos val="b"/>
      <c:layout>
        <c:manualLayout>
          <c:xMode val="edge"/>
          <c:yMode val="edge"/>
          <c:x val="2.3918935723740282E-2"/>
          <c:y val="0.82161451211207759"/>
          <c:w val="0.96043047899072675"/>
          <c:h val="0.17245954486308709"/>
        </c:manualLayout>
      </c:layout>
      <c:overlay val="0"/>
      <c:txPr>
        <a:bodyPr/>
        <a:lstStyle/>
        <a:p>
          <a:pPr>
            <a:defRPr sz="700"/>
          </a:pPr>
          <a:endParaRPr lang="es-CL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C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Balance</c:v>
                </c:pt>
              </c:strCache>
            </c:strRef>
          </c:tx>
          <c:spPr>
            <a:solidFill>
              <a:srgbClr val="E87D0D"/>
            </a:solidFill>
            <a:ln w="3175">
              <a:solidFill>
                <a:schemeClr val="accent2">
                  <a:lumMod val="75000"/>
                </a:schemeClr>
              </a:solidFill>
            </a:ln>
          </c:spPr>
          <c:invertIfNegative val="0"/>
          <c:cat>
            <c:numRef>
              <c:f>Hoja1!$A$2:$A$30</c:f>
              <c:numCache>
                <c:formatCode>General</c:formatCode>
                <c:ptCount val="29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  <c:pt idx="27">
                  <c:v>2019</c:v>
                </c:pt>
                <c:pt idx="28">
                  <c:v>2020</c:v>
                </c:pt>
              </c:numCache>
            </c:numRef>
          </c:cat>
          <c:val>
            <c:numRef>
              <c:f>Hoja1!$B$2:$B$30</c:f>
              <c:numCache>
                <c:formatCode>#,##0</c:formatCode>
                <c:ptCount val="29"/>
                <c:pt idx="0">
                  <c:v>225.44999999999891</c:v>
                </c:pt>
                <c:pt idx="1">
                  <c:v>198.38797195236293</c:v>
                </c:pt>
                <c:pt idx="2">
                  <c:v>-350.78760000000148</c:v>
                </c:pt>
                <c:pt idx="3">
                  <c:v>-209.01990000000296</c:v>
                </c:pt>
                <c:pt idx="4">
                  <c:v>-49.934658000000127</c:v>
                </c:pt>
                <c:pt idx="5">
                  <c:v>350.84471889998895</c:v>
                </c:pt>
                <c:pt idx="6">
                  <c:v>412.05363424999814</c:v>
                </c:pt>
                <c:pt idx="7">
                  <c:v>240.58602802750283</c:v>
                </c:pt>
                <c:pt idx="8">
                  <c:v>-349.13650628609321</c:v>
                </c:pt>
                <c:pt idx="9">
                  <c:v>706.20052588791441</c:v>
                </c:pt>
                <c:pt idx="10">
                  <c:v>261.99836648093333</c:v>
                </c:pt>
                <c:pt idx="11">
                  <c:v>-135.01300000000265</c:v>
                </c:pt>
                <c:pt idx="12">
                  <c:v>-840.15421599999718</c:v>
                </c:pt>
                <c:pt idx="13">
                  <c:v>-316.07329479414693</c:v>
                </c:pt>
                <c:pt idx="14">
                  <c:v>120.016280521515</c:v>
                </c:pt>
                <c:pt idx="15">
                  <c:v>118.73356599999897</c:v>
                </c:pt>
                <c:pt idx="16">
                  <c:v>410.61581381704673</c:v>
                </c:pt>
                <c:pt idx="17">
                  <c:v>1091.0830553619016</c:v>
                </c:pt>
                <c:pt idx="18">
                  <c:v>-84.527662457781844</c:v>
                </c:pt>
                <c:pt idx="19">
                  <c:v>28.057200525534427</c:v>
                </c:pt>
                <c:pt idx="20">
                  <c:v>242.94259050186156</c:v>
                </c:pt>
                <c:pt idx="21">
                  <c:v>158.87887230584602</c:v>
                </c:pt>
                <c:pt idx="22">
                  <c:v>155.17599068216077</c:v>
                </c:pt>
              </c:numCache>
            </c:numRef>
          </c:val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alance Proy.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3175">
              <a:solidFill>
                <a:schemeClr val="accent3">
                  <a:lumMod val="75000"/>
                </a:schemeClr>
              </a:solidFill>
            </a:ln>
          </c:spPr>
          <c:invertIfNegative val="0"/>
          <c:cat>
            <c:numRef>
              <c:f>Hoja1!$A$2:$A$30</c:f>
              <c:numCache>
                <c:formatCode>General</c:formatCode>
                <c:ptCount val="29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  <c:pt idx="27">
                  <c:v>2019</c:v>
                </c:pt>
                <c:pt idx="28">
                  <c:v>2020</c:v>
                </c:pt>
              </c:numCache>
            </c:numRef>
          </c:cat>
          <c:val>
            <c:numRef>
              <c:f>Hoja1!$C$2:$C$30</c:f>
              <c:numCache>
                <c:formatCode>General</c:formatCode>
                <c:ptCount val="29"/>
                <c:pt idx="23" formatCode="#,##0">
                  <c:v>351.40749599648916</c:v>
                </c:pt>
                <c:pt idx="24" formatCode="#,##0">
                  <c:v>112.78974196491981</c:v>
                </c:pt>
                <c:pt idx="25" formatCode="#,##0">
                  <c:v>87.952283436861762</c:v>
                </c:pt>
                <c:pt idx="26" formatCode="#,##0">
                  <c:v>-36.32647365196317</c:v>
                </c:pt>
                <c:pt idx="27" formatCode="#,##0">
                  <c:v>-68.409262494187715</c:v>
                </c:pt>
                <c:pt idx="28" formatCode="#,##0">
                  <c:v>-10.9644458121256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833216"/>
        <c:axId val="87839104"/>
      </c:barChart>
      <c:catAx>
        <c:axId val="87833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 sz="800" b="1"/>
            </a:pPr>
            <a:endParaRPr lang="es-CL"/>
          </a:p>
        </c:txPr>
        <c:crossAx val="87839104"/>
        <c:crosses val="autoZero"/>
        <c:auto val="1"/>
        <c:lblAlgn val="ctr"/>
        <c:lblOffset val="100"/>
        <c:tickLblSkip val="2"/>
        <c:noMultiLvlLbl val="0"/>
      </c:catAx>
      <c:valAx>
        <c:axId val="87839104"/>
        <c:scaling>
          <c:orientation val="minMax"/>
          <c:max val="1200"/>
          <c:min val="-900"/>
        </c:scaling>
        <c:delete val="0"/>
        <c:axPos val="l"/>
        <c:majorGridlines/>
        <c:minorGridlines>
          <c:spPr>
            <a:ln>
              <a:solidFill>
                <a:schemeClr val="bg1">
                  <a:lumMod val="85000"/>
                </a:schemeClr>
              </a:solidFill>
            </a:ln>
          </c:spPr>
        </c:minorGridlines>
        <c:numFmt formatCode="#,##0" sourceLinked="1"/>
        <c:majorTickMark val="out"/>
        <c:minorTickMark val="out"/>
        <c:tickLblPos val="nextTo"/>
        <c:txPr>
          <a:bodyPr/>
          <a:lstStyle/>
          <a:p>
            <a:pPr>
              <a:defRPr sz="800" b="1"/>
            </a:pPr>
            <a:endParaRPr lang="es-CL"/>
          </a:p>
        </c:txPr>
        <c:crossAx val="87833216"/>
        <c:crossesAt val="1"/>
        <c:crossBetween val="between"/>
        <c:majorUnit val="300"/>
        <c:minorUnit val="1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CL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B136F1-6A50-4819-914E-BC5BD80436FA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60AAC9-569F-4285-BE0B-DF4EC78472D7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976790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Rectángulo"/>
          <p:cNvSpPr/>
          <p:nvPr userDrawn="1"/>
        </p:nvSpPr>
        <p:spPr>
          <a:xfrm>
            <a:off x="0" y="4437112"/>
            <a:ext cx="9140834" cy="2420888"/>
          </a:xfrm>
          <a:prstGeom prst="rect">
            <a:avLst/>
          </a:prstGeom>
          <a:gradFill>
            <a:gsLst>
              <a:gs pos="0">
                <a:schemeClr val="tx1">
                  <a:alpha val="24000"/>
                </a:schemeClr>
              </a:gs>
              <a:gs pos="94000">
                <a:schemeClr val="tx1"/>
              </a:gs>
              <a:gs pos="100000">
                <a:schemeClr val="tx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pic>
        <p:nvPicPr>
          <p:cNvPr id="7" name="6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" y="0"/>
            <a:ext cx="9137668" cy="6858000"/>
          </a:xfrm>
          <a:prstGeom prst="rect">
            <a:avLst/>
          </a:prstGeom>
        </p:spPr>
      </p:pic>
      <p:sp>
        <p:nvSpPr>
          <p:cNvPr id="4" name="3 Rectángulo"/>
          <p:cNvSpPr/>
          <p:nvPr userDrawn="1"/>
        </p:nvSpPr>
        <p:spPr>
          <a:xfrm>
            <a:off x="0" y="4797152"/>
            <a:ext cx="9144000" cy="2060848"/>
          </a:xfrm>
          <a:prstGeom prst="rect">
            <a:avLst/>
          </a:prstGeom>
          <a:gradFill>
            <a:gsLst>
              <a:gs pos="0">
                <a:schemeClr val="tx1">
                  <a:alpha val="24000"/>
                </a:schemeClr>
              </a:gs>
              <a:gs pos="94000">
                <a:schemeClr val="tx1"/>
              </a:gs>
              <a:gs pos="100000">
                <a:schemeClr val="tx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755762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9221662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4035718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0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Rectángulo"/>
          <p:cNvSpPr/>
          <p:nvPr userDrawn="1"/>
        </p:nvSpPr>
        <p:spPr>
          <a:xfrm>
            <a:off x="0" y="6597352"/>
            <a:ext cx="7596336" cy="260648"/>
          </a:xfrm>
          <a:prstGeom prst="rect">
            <a:avLst/>
          </a:prstGeom>
          <a:solidFill>
            <a:srgbClr val="1D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8" name="5 Marcador de número de diapositiva"/>
          <p:cNvSpPr txBox="1">
            <a:spLocks/>
          </p:cNvSpPr>
          <p:nvPr userDrawn="1"/>
        </p:nvSpPr>
        <p:spPr>
          <a:xfrm>
            <a:off x="130624" y="6541672"/>
            <a:ext cx="13415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L"/>
            </a:defPPr>
            <a:lvl1pPr marL="0" algn="l" defTabSz="914400" rtl="0" eaLnBrk="1" latinLnBrk="0" hangingPunct="1">
              <a:defRPr sz="1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EB29DB9-4D93-4D46-8698-EEF9976C3D2E}" type="slidenum">
              <a:rPr lang="es-CL" smtClean="0"/>
              <a:pPr/>
              <a:t>‹Nº›</a:t>
            </a:fld>
            <a:endParaRPr lang="es-CL" dirty="0"/>
          </a:p>
        </p:txBody>
      </p:sp>
      <p:sp>
        <p:nvSpPr>
          <p:cNvPr id="9" name="4 Marcador de pie de página"/>
          <p:cNvSpPr txBox="1">
            <a:spLocks/>
          </p:cNvSpPr>
          <p:nvPr userDrawn="1"/>
        </p:nvSpPr>
        <p:spPr>
          <a:xfrm>
            <a:off x="1763688" y="6641963"/>
            <a:ext cx="5544616" cy="171413"/>
          </a:xfrm>
          <a:prstGeom prst="rect">
            <a:avLst/>
          </a:prstGeom>
        </p:spPr>
        <p:txBody>
          <a:bodyPr/>
          <a:lstStyle>
            <a:defPPr>
              <a:defRPr lang="es-CL"/>
            </a:defPPr>
            <a:lvl1pPr marL="0" algn="l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s-CL" sz="700" dirty="0" err="1" smtClean="0"/>
              <a:t>Copyrights</a:t>
            </a:r>
            <a:r>
              <a:rPr lang="es-CL" sz="700" dirty="0" smtClean="0"/>
              <a:t>© 2015 CODELCO-CHILE. Todos los Derechos Reservados. | </a:t>
            </a:r>
            <a:r>
              <a:rPr lang="es-CL" sz="700" dirty="0" err="1" smtClean="0"/>
              <a:t>Copyrights</a:t>
            </a:r>
            <a:r>
              <a:rPr lang="es-CL" sz="700" dirty="0" smtClean="0"/>
              <a:t>© 2015 </a:t>
            </a:r>
            <a:r>
              <a:rPr lang="es-CL" sz="700" dirty="0" err="1" smtClean="0"/>
              <a:t>by</a:t>
            </a:r>
            <a:r>
              <a:rPr lang="es-CL" sz="700" dirty="0" smtClean="0"/>
              <a:t> CODELCO-CHILE. </a:t>
            </a:r>
            <a:r>
              <a:rPr lang="es-CL" sz="700" dirty="0" err="1" smtClean="0"/>
              <a:t>All</a:t>
            </a:r>
            <a:r>
              <a:rPr lang="es-CL" sz="700" dirty="0" smtClean="0"/>
              <a:t> </a:t>
            </a:r>
            <a:r>
              <a:rPr lang="es-CL" sz="700" dirty="0" err="1" smtClean="0"/>
              <a:t>Rights</a:t>
            </a:r>
            <a:r>
              <a:rPr lang="es-CL" sz="700" dirty="0" smtClean="0"/>
              <a:t> </a:t>
            </a:r>
            <a:r>
              <a:rPr lang="es-CL" sz="700" dirty="0" err="1" smtClean="0"/>
              <a:t>Reserved</a:t>
            </a:r>
            <a:r>
              <a:rPr lang="es-CL" sz="700" dirty="0" smtClean="0"/>
              <a:t>.</a:t>
            </a:r>
            <a:endParaRPr lang="es-CL" sz="700" dirty="0"/>
          </a:p>
        </p:txBody>
      </p:sp>
      <p:sp>
        <p:nvSpPr>
          <p:cNvPr id="10" name="9 Rectángulo"/>
          <p:cNvSpPr/>
          <p:nvPr userDrawn="1"/>
        </p:nvSpPr>
        <p:spPr>
          <a:xfrm>
            <a:off x="323528" y="-2892"/>
            <a:ext cx="108012" cy="755526"/>
          </a:xfrm>
          <a:prstGeom prst="rect">
            <a:avLst/>
          </a:prstGeom>
          <a:solidFill>
            <a:srgbClr val="1D71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10 Rectángulo"/>
          <p:cNvSpPr/>
          <p:nvPr userDrawn="1"/>
        </p:nvSpPr>
        <p:spPr>
          <a:xfrm>
            <a:off x="7603156" y="6597345"/>
            <a:ext cx="1540843" cy="260648"/>
          </a:xfrm>
          <a:prstGeom prst="rect">
            <a:avLst/>
          </a:prstGeom>
          <a:solidFill>
            <a:srgbClr val="3D45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2" name="11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912" y="6649098"/>
            <a:ext cx="819560" cy="164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001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6138617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024376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70795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81226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51815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32962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C20AC1-D82B-489C-A6F1-D01C32686069}" type="datetimeFigureOut">
              <a:rPr lang="es-CL" smtClean="0"/>
              <a:t>14-01-2016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9D42D9-1E14-4A95-9BEE-72F2A9A06D7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14303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C20AC1-D82B-489C-A6F1-D01C32686069}" type="datetimeFigureOut">
              <a:rPr lang="es-CL" smtClean="0"/>
              <a:t>14-01-2016</a:t>
            </a:fld>
            <a:endParaRPr lang="es-CL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9D42D9-1E14-4A95-9BEE-72F2A9A06D7A}" type="slidenum">
              <a:rPr lang="es-CL" smtClean="0"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055855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31.xml"/><Relationship Id="rId7" Type="http://schemas.openxmlformats.org/officeDocument/2006/relationships/oleObject" Target="file:///C:\Users\cmarquez\AppData\Local\Microsoft\Windows\Temporary%20Internet%20Files\Content.Outlook\O5WW128J\Factorial%2013-14-15-16.xlsx!Factorial%20Costo%20C1%2016-15%20(2)!%5bFactorial%2013-14-15-16.xlsx%5dFactorial%20Costo%20C1%2016-15%20(2)%201%20Gr&#225;fico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image" Target="../media/image11.emf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oleObject" Target="file:///C:\Users\cmarquez\AppData\Local\Microsoft\Windows\Temporary%20Internet%20Files\Content.Outlook\O5WW128J\Libro1!Hoja1!F5C4:F12C15" TargetMode="External"/><Relationship Id="rId2" Type="http://schemas.openxmlformats.org/officeDocument/2006/relationships/tags" Target="../tags/tag32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chart" Target="../charts/chart5.xml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4.xml"/><Relationship Id="rId4" Type="http://schemas.openxmlformats.org/officeDocument/2006/relationships/tags" Target="../tags/tag7.xml"/><Relationship Id="rId9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chart" Target="../charts/chart6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13.xml"/><Relationship Id="rId21" Type="http://schemas.openxmlformats.org/officeDocument/2006/relationships/image" Target="../media/image4.png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image" Target="../media/image8.png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image" Target="../media/image7.png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image" Target="../media/image6.png"/><Relationship Id="rId10" Type="http://schemas.openxmlformats.org/officeDocument/2006/relationships/tags" Target="../tags/tag20.xml"/><Relationship Id="rId19" Type="http://schemas.openxmlformats.org/officeDocument/2006/relationships/oleObject" Target="../embeddings/oleObject5.bin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611560" y="5352381"/>
            <a:ext cx="37444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dirty="0" smtClean="0">
                <a:solidFill>
                  <a:schemeClr val="bg1"/>
                </a:solidFill>
              </a:rPr>
              <a:t>Plan Aumento de Competitividad 2016</a:t>
            </a:r>
            <a:endParaRPr lang="es-CL" sz="2800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5076056" y="5517232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bg1"/>
                </a:solidFill>
              </a:rPr>
              <a:t>Nelson Pizarro Contador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5076056" y="5888305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 smtClean="0">
                <a:solidFill>
                  <a:schemeClr val="bg1"/>
                </a:solidFill>
              </a:rPr>
              <a:t>14 de </a:t>
            </a:r>
            <a:r>
              <a:rPr lang="es-MX" sz="1200" b="1" dirty="0" smtClean="0">
                <a:solidFill>
                  <a:schemeClr val="bg1"/>
                </a:solidFill>
              </a:rPr>
              <a:t>enero de </a:t>
            </a:r>
            <a:r>
              <a:rPr lang="es-MX" sz="1200" b="1" dirty="0" smtClean="0">
                <a:solidFill>
                  <a:schemeClr val="bg1"/>
                </a:solidFill>
              </a:rPr>
              <a:t>2016</a:t>
            </a:r>
            <a:endParaRPr lang="es-CL" sz="1200" b="1" dirty="0">
              <a:solidFill>
                <a:schemeClr val="bg1"/>
              </a:solidFill>
            </a:endParaRPr>
          </a:p>
        </p:txBody>
      </p:sp>
      <p:cxnSp>
        <p:nvCxnSpPr>
          <p:cNvPr id="9" name="8 Conector recto"/>
          <p:cNvCxnSpPr/>
          <p:nvPr/>
        </p:nvCxnSpPr>
        <p:spPr>
          <a:xfrm>
            <a:off x="4716016" y="5373216"/>
            <a:ext cx="0" cy="10801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506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475656" y="2780928"/>
            <a:ext cx="6552728" cy="1143000"/>
          </a:xfrm>
        </p:spPr>
        <p:txBody>
          <a:bodyPr/>
          <a:lstStyle/>
          <a:p>
            <a:r>
              <a:rPr lang="es-MX" dirty="0" smtClean="0"/>
              <a:t>Profundización del plan de reducción de costos para 2016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5042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6823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70248" y="196538"/>
            <a:ext cx="8676456" cy="777076"/>
          </a:xfrm>
        </p:spPr>
        <p:txBody>
          <a:bodyPr/>
          <a:lstStyle/>
          <a:p>
            <a:pPr algn="l"/>
            <a:r>
              <a:rPr lang="es-ES" sz="2600" dirty="0" smtClean="0"/>
              <a:t>PROYECCIÓN  CIERRE 2015 – PRESUPUESTO 2016 OPTIMIZADO </a:t>
            </a:r>
            <a:r>
              <a:rPr lang="es-ES" sz="1800" dirty="0" smtClean="0"/>
              <a:t>(</a:t>
            </a:r>
            <a:r>
              <a:rPr lang="es-ES" sz="1800" dirty="0"/>
              <a:t>MUS$)</a:t>
            </a:r>
            <a:r>
              <a:rPr lang="es-ES" sz="1800" dirty="0" smtClean="0"/>
              <a:t/>
            </a:r>
            <a:br>
              <a:rPr lang="es-ES" sz="1800" dirty="0" smtClean="0"/>
            </a:br>
            <a:r>
              <a:rPr lang="es-ES" sz="2000" dirty="0" smtClean="0"/>
              <a:t>Comparación Costo Caja</a:t>
            </a:r>
            <a:endParaRPr lang="es-ES" sz="2800" dirty="0"/>
          </a:p>
        </p:txBody>
      </p:sp>
      <p:graphicFrame>
        <p:nvGraphicFramePr>
          <p:cNvPr id="4" name="3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73378786"/>
              </p:ext>
            </p:extLst>
          </p:nvPr>
        </p:nvGraphicFramePr>
        <p:xfrm>
          <a:off x="395536" y="1772816"/>
          <a:ext cx="8385175" cy="45100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23" name="Hoja de cálculo" r:id="rId7" imgW="7753485" imgH="4171950" progId="Excel.Sheet.12">
                  <p:link updateAutomatic="1"/>
                </p:oleObj>
              </mc:Choice>
              <mc:Fallback>
                <p:oleObj name="Hoja de cálculo" r:id="rId7" imgW="7753485" imgH="417195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95536" y="1772816"/>
                        <a:ext cx="8385175" cy="45100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8 Abrir llave"/>
          <p:cNvSpPr/>
          <p:nvPr/>
        </p:nvSpPr>
        <p:spPr>
          <a:xfrm rot="5400000">
            <a:off x="4662010" y="-1449724"/>
            <a:ext cx="540060" cy="576064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0" name="9 CuadroTexto"/>
          <p:cNvSpPr txBox="1"/>
          <p:nvPr/>
        </p:nvSpPr>
        <p:spPr>
          <a:xfrm>
            <a:off x="4331732" y="788948"/>
            <a:ext cx="18722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smtClean="0"/>
              <a:t>MUS$ 574 (-11%) </a:t>
            </a:r>
            <a:endParaRPr lang="es-CL" dirty="0"/>
          </a:p>
        </p:txBody>
      </p:sp>
      <p:sp>
        <p:nvSpPr>
          <p:cNvPr id="3" name="2 CuadroTexto"/>
          <p:cNvSpPr txBox="1"/>
          <p:nvPr/>
        </p:nvSpPr>
        <p:spPr>
          <a:xfrm>
            <a:off x="1691680" y="4149080"/>
            <a:ext cx="7920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 smtClean="0"/>
              <a:t>C1 138,6</a:t>
            </a:r>
            <a:endParaRPr lang="es-CL" sz="1600" b="1" dirty="0"/>
          </a:p>
        </p:txBody>
      </p:sp>
      <p:sp>
        <p:nvSpPr>
          <p:cNvPr id="8" name="7 CuadroTexto"/>
          <p:cNvSpPr txBox="1"/>
          <p:nvPr/>
        </p:nvSpPr>
        <p:spPr>
          <a:xfrm>
            <a:off x="7524328" y="4149080"/>
            <a:ext cx="7920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600" b="1" dirty="0" smtClean="0"/>
              <a:t>C1</a:t>
            </a:r>
          </a:p>
          <a:p>
            <a:pPr algn="ctr"/>
            <a:r>
              <a:rPr lang="es-CL" sz="1600" b="1" dirty="0" smtClean="0"/>
              <a:t>125,5</a:t>
            </a:r>
            <a:endParaRPr lang="es-CL" sz="1600" b="1" dirty="0"/>
          </a:p>
        </p:txBody>
      </p:sp>
    </p:spTree>
    <p:extLst>
      <p:ext uri="{BB962C8B-B14F-4D97-AF65-F5344CB8AC3E}">
        <p14:creationId xmlns:p14="http://schemas.microsoft.com/office/powerpoint/2010/main" val="2785301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239103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11560" y="188640"/>
            <a:ext cx="6480720" cy="576064"/>
          </a:xfrm>
        </p:spPr>
        <p:txBody>
          <a:bodyPr/>
          <a:lstStyle/>
          <a:p>
            <a:pPr algn="l"/>
            <a:r>
              <a:rPr lang="es-ES" sz="2800" dirty="0" smtClean="0"/>
              <a:t>EVOLUCIÓN PRESUPUESTO 2016</a:t>
            </a:r>
            <a:endParaRPr lang="es-ES" sz="2800" dirty="0"/>
          </a:p>
        </p:txBody>
      </p:sp>
      <p:sp>
        <p:nvSpPr>
          <p:cNvPr id="14" name="13 Rectángulo"/>
          <p:cNvSpPr/>
          <p:nvPr>
            <p:custDataLst>
              <p:tags r:id="rId4"/>
            </p:custDataLst>
          </p:nvPr>
        </p:nvSpPr>
        <p:spPr>
          <a:xfrm>
            <a:off x="2089820" y="1571670"/>
            <a:ext cx="1008114" cy="2478197"/>
          </a:xfrm>
          <a:prstGeom prst="rect">
            <a:avLst/>
          </a:prstGeom>
          <a:solidFill>
            <a:srgbClr val="E4841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prstClr val="white"/>
                </a:solidFill>
              </a:rPr>
              <a:t>MUS$ </a:t>
            </a:r>
            <a:r>
              <a:rPr lang="es-CL" sz="1200" b="1" dirty="0" smtClean="0">
                <a:solidFill>
                  <a:prstClr val="white"/>
                </a:solidFill>
              </a:rPr>
              <a:t>8.693</a:t>
            </a:r>
            <a:endParaRPr lang="es-CL" sz="1200" b="1" dirty="0">
              <a:solidFill>
                <a:prstClr val="white"/>
              </a:solidFill>
            </a:endParaRPr>
          </a:p>
        </p:txBody>
      </p:sp>
      <p:sp>
        <p:nvSpPr>
          <p:cNvPr id="23" name="22 Rectángulo"/>
          <p:cNvSpPr/>
          <p:nvPr>
            <p:custDataLst>
              <p:tags r:id="rId5"/>
            </p:custDataLst>
          </p:nvPr>
        </p:nvSpPr>
        <p:spPr>
          <a:xfrm>
            <a:off x="6757669" y="2420888"/>
            <a:ext cx="1008114" cy="1628979"/>
          </a:xfrm>
          <a:prstGeom prst="rect">
            <a:avLst/>
          </a:prstGeom>
          <a:solidFill>
            <a:srgbClr val="E4841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prstClr val="white"/>
                </a:solidFill>
              </a:rPr>
              <a:t>MUS$ </a:t>
            </a:r>
            <a:r>
              <a:rPr lang="es-CL" sz="1200" b="1" dirty="0" smtClean="0">
                <a:solidFill>
                  <a:prstClr val="white"/>
                </a:solidFill>
              </a:rPr>
              <a:t>7.534</a:t>
            </a:r>
            <a:endParaRPr lang="es-CL" sz="1200" b="1" dirty="0">
              <a:solidFill>
                <a:prstClr val="white"/>
              </a:solidFill>
            </a:endParaRPr>
          </a:p>
        </p:txBody>
      </p:sp>
      <p:sp>
        <p:nvSpPr>
          <p:cNvPr id="24" name="23 Rectángulo"/>
          <p:cNvSpPr/>
          <p:nvPr>
            <p:custDataLst>
              <p:tags r:id="rId6"/>
            </p:custDataLst>
          </p:nvPr>
        </p:nvSpPr>
        <p:spPr>
          <a:xfrm>
            <a:off x="6757670" y="2198443"/>
            <a:ext cx="1008114" cy="22244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prstClr val="black"/>
                </a:solidFill>
              </a:rPr>
              <a:t>MUS$ </a:t>
            </a:r>
            <a:r>
              <a:rPr lang="es-CL" sz="1200" b="1" dirty="0" smtClean="0">
                <a:solidFill>
                  <a:prstClr val="black"/>
                </a:solidFill>
              </a:rPr>
              <a:t>312</a:t>
            </a:r>
            <a:endParaRPr lang="es-CL" sz="1200" b="1" dirty="0">
              <a:solidFill>
                <a:prstClr val="black"/>
              </a:solidFill>
            </a:endParaRPr>
          </a:p>
        </p:txBody>
      </p:sp>
      <p:sp>
        <p:nvSpPr>
          <p:cNvPr id="28" name="27 CuadroTexto"/>
          <p:cNvSpPr txBox="1"/>
          <p:nvPr>
            <p:custDataLst>
              <p:tags r:id="rId7"/>
            </p:custDataLst>
          </p:nvPr>
        </p:nvSpPr>
        <p:spPr>
          <a:xfrm>
            <a:off x="6492153" y="1412776"/>
            <a:ext cx="15256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prstClr val="black"/>
                </a:solidFill>
              </a:rPr>
              <a:t>Plan de Competitividad 2016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32" name="31 CuadroTexto"/>
          <p:cNvSpPr txBox="1"/>
          <p:nvPr>
            <p:custDataLst>
              <p:tags r:id="rId8"/>
            </p:custDataLst>
          </p:nvPr>
        </p:nvSpPr>
        <p:spPr>
          <a:xfrm>
            <a:off x="3098573" y="3639014"/>
            <a:ext cx="12002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" b="1" dirty="0" smtClean="0">
                <a:solidFill>
                  <a:prstClr val="black"/>
                </a:solidFill>
              </a:rPr>
              <a:t>3% de menor depreciación</a:t>
            </a:r>
            <a:endParaRPr lang="es-CL" sz="1100" b="1" dirty="0">
              <a:solidFill>
                <a:prstClr val="black"/>
              </a:solidFill>
            </a:endParaRPr>
          </a:p>
        </p:txBody>
      </p:sp>
      <p:sp>
        <p:nvSpPr>
          <p:cNvPr id="34" name="33 CuadroTexto"/>
          <p:cNvSpPr txBox="1"/>
          <p:nvPr>
            <p:custDataLst>
              <p:tags r:id="rId9"/>
            </p:custDataLst>
          </p:nvPr>
        </p:nvSpPr>
        <p:spPr>
          <a:xfrm>
            <a:off x="3107777" y="1571670"/>
            <a:ext cx="120028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" b="1" dirty="0" smtClean="0">
                <a:solidFill>
                  <a:prstClr val="black"/>
                </a:solidFill>
              </a:rPr>
              <a:t>Optimización de Servicios</a:t>
            </a:r>
          </a:p>
          <a:p>
            <a:pPr algn="ctr"/>
            <a:r>
              <a:rPr lang="es-CL" sz="1100" b="1" dirty="0" smtClean="0">
                <a:solidFill>
                  <a:prstClr val="black"/>
                </a:solidFill>
              </a:rPr>
              <a:t>(3.400 FTE)</a:t>
            </a:r>
            <a:endParaRPr lang="es-CL" sz="1100" b="1" dirty="0">
              <a:solidFill>
                <a:prstClr val="black"/>
              </a:solidFill>
            </a:endParaRPr>
          </a:p>
        </p:txBody>
      </p:sp>
      <p:sp>
        <p:nvSpPr>
          <p:cNvPr id="36" name="35 CuadroTexto"/>
          <p:cNvSpPr txBox="1"/>
          <p:nvPr/>
        </p:nvSpPr>
        <p:spPr>
          <a:xfrm>
            <a:off x="3122635" y="2616519"/>
            <a:ext cx="12002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" b="1" dirty="0">
                <a:solidFill>
                  <a:prstClr val="black"/>
                </a:solidFill>
              </a:rPr>
              <a:t>Menor costo </a:t>
            </a:r>
            <a:endParaRPr lang="es-CL" sz="1100" b="1" dirty="0" smtClean="0">
              <a:solidFill>
                <a:prstClr val="black"/>
              </a:solidFill>
            </a:endParaRPr>
          </a:p>
          <a:p>
            <a:pPr algn="ctr"/>
            <a:r>
              <a:rPr lang="es-CL" sz="1100" b="1" dirty="0" smtClean="0">
                <a:solidFill>
                  <a:prstClr val="black"/>
                </a:solidFill>
              </a:rPr>
              <a:t>de </a:t>
            </a:r>
            <a:r>
              <a:rPr lang="es-CL" sz="1100" b="1" dirty="0">
                <a:solidFill>
                  <a:prstClr val="black"/>
                </a:solidFill>
              </a:rPr>
              <a:t>un </a:t>
            </a:r>
            <a:r>
              <a:rPr lang="es-CL" sz="1100" b="1" dirty="0" smtClean="0">
                <a:solidFill>
                  <a:prstClr val="black"/>
                </a:solidFill>
              </a:rPr>
              <a:t>10%</a:t>
            </a:r>
            <a:endParaRPr lang="es-CL" sz="1100" b="1" dirty="0">
              <a:solidFill>
                <a:prstClr val="black"/>
              </a:solidFill>
            </a:endParaRPr>
          </a:p>
        </p:txBody>
      </p:sp>
      <p:sp>
        <p:nvSpPr>
          <p:cNvPr id="39" name="38 Rectángulo"/>
          <p:cNvSpPr/>
          <p:nvPr>
            <p:custDataLst>
              <p:tags r:id="rId10"/>
            </p:custDataLst>
          </p:nvPr>
        </p:nvSpPr>
        <p:spPr>
          <a:xfrm>
            <a:off x="4225997" y="2129150"/>
            <a:ext cx="1008114" cy="1928757"/>
          </a:xfrm>
          <a:prstGeom prst="rect">
            <a:avLst/>
          </a:prstGeom>
          <a:solidFill>
            <a:srgbClr val="E4841A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prstClr val="white"/>
                </a:solidFill>
              </a:rPr>
              <a:t>MUS$ </a:t>
            </a:r>
            <a:r>
              <a:rPr lang="es-CL" sz="1200" b="1" dirty="0" smtClean="0">
                <a:solidFill>
                  <a:prstClr val="white"/>
                </a:solidFill>
              </a:rPr>
              <a:t>7.846</a:t>
            </a:r>
            <a:endParaRPr lang="es-CL" sz="1200" b="1" dirty="0">
              <a:solidFill>
                <a:prstClr val="white"/>
              </a:solidFill>
            </a:endParaRPr>
          </a:p>
        </p:txBody>
      </p:sp>
      <p:sp>
        <p:nvSpPr>
          <p:cNvPr id="40" name="39 Rectángulo"/>
          <p:cNvSpPr/>
          <p:nvPr>
            <p:custDataLst>
              <p:tags r:id="rId11"/>
            </p:custDataLst>
          </p:nvPr>
        </p:nvSpPr>
        <p:spPr>
          <a:xfrm>
            <a:off x="4225997" y="1571670"/>
            <a:ext cx="1008114" cy="56118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L" sz="1200" b="1" dirty="0">
                <a:solidFill>
                  <a:prstClr val="black"/>
                </a:solidFill>
              </a:rPr>
              <a:t>MUS$ </a:t>
            </a:r>
            <a:r>
              <a:rPr lang="es-CL" sz="1200" b="1" dirty="0" smtClean="0">
                <a:solidFill>
                  <a:prstClr val="black"/>
                </a:solidFill>
              </a:rPr>
              <a:t>847</a:t>
            </a:r>
            <a:endParaRPr lang="es-CL" sz="1200" b="1" dirty="0">
              <a:solidFill>
                <a:prstClr val="black"/>
              </a:solidFill>
            </a:endParaRPr>
          </a:p>
        </p:txBody>
      </p:sp>
      <p:sp>
        <p:nvSpPr>
          <p:cNvPr id="51" name="50 CuadroTexto"/>
          <p:cNvSpPr txBox="1"/>
          <p:nvPr>
            <p:custDataLst>
              <p:tags r:id="rId12"/>
            </p:custDataLst>
          </p:nvPr>
        </p:nvSpPr>
        <p:spPr>
          <a:xfrm>
            <a:off x="5364088" y="2595324"/>
            <a:ext cx="12002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100" b="1" dirty="0">
                <a:solidFill>
                  <a:prstClr val="black"/>
                </a:solidFill>
              </a:rPr>
              <a:t>Menor costo </a:t>
            </a:r>
            <a:endParaRPr lang="es-CL" sz="1100" b="1" dirty="0" smtClean="0">
              <a:solidFill>
                <a:prstClr val="black"/>
              </a:solidFill>
            </a:endParaRPr>
          </a:p>
          <a:p>
            <a:pPr algn="ctr"/>
            <a:r>
              <a:rPr lang="es-CL" sz="1100" b="1" dirty="0" smtClean="0">
                <a:solidFill>
                  <a:prstClr val="black"/>
                </a:solidFill>
              </a:rPr>
              <a:t>de </a:t>
            </a:r>
            <a:r>
              <a:rPr lang="es-CL" sz="1100" b="1" dirty="0">
                <a:solidFill>
                  <a:prstClr val="black"/>
                </a:solidFill>
              </a:rPr>
              <a:t>un </a:t>
            </a:r>
            <a:r>
              <a:rPr lang="es-CL" sz="1100" b="1" dirty="0" smtClean="0">
                <a:solidFill>
                  <a:prstClr val="black"/>
                </a:solidFill>
              </a:rPr>
              <a:t>4%</a:t>
            </a:r>
            <a:endParaRPr lang="es-CL" sz="1100" b="1" dirty="0">
              <a:solidFill>
                <a:prstClr val="black"/>
              </a:solidFill>
            </a:endParaRPr>
          </a:p>
        </p:txBody>
      </p:sp>
      <p:sp>
        <p:nvSpPr>
          <p:cNvPr id="44" name="43 CuadroTexto"/>
          <p:cNvSpPr txBox="1"/>
          <p:nvPr>
            <p:custDataLst>
              <p:tags r:id="rId13"/>
            </p:custDataLst>
          </p:nvPr>
        </p:nvSpPr>
        <p:spPr>
          <a:xfrm>
            <a:off x="4019999" y="760797"/>
            <a:ext cx="152565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1400" dirty="0" smtClean="0">
                <a:solidFill>
                  <a:prstClr val="black"/>
                </a:solidFill>
              </a:rPr>
              <a:t>Gestión PRC 2015 incorporada en presupuesto</a:t>
            </a:r>
            <a:endParaRPr lang="es-CL" sz="1400" dirty="0">
              <a:solidFill>
                <a:prstClr val="black"/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5547212" y="260648"/>
            <a:ext cx="3429029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s-CL" sz="1400" dirty="0" smtClean="0"/>
              <a:t>Presupuesto optimizado  presenta un ahorro cercano a los </a:t>
            </a:r>
            <a:r>
              <a:rPr lang="es-CL" sz="1400" b="1" dirty="0" smtClean="0">
                <a:solidFill>
                  <a:srgbClr val="E4841A"/>
                </a:solidFill>
              </a:rPr>
              <a:t>US$1.100 millones </a:t>
            </a:r>
            <a:r>
              <a:rPr lang="es-CL" sz="1400" dirty="0" smtClean="0"/>
              <a:t>respecto al presupuesto preliminar</a:t>
            </a:r>
            <a:endParaRPr lang="es-CL" sz="1400" dirty="0"/>
          </a:p>
        </p:txBody>
      </p:sp>
      <p:graphicFrame>
        <p:nvGraphicFramePr>
          <p:cNvPr id="5" name="4 Objeto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5173232"/>
              </p:ext>
            </p:extLst>
          </p:nvPr>
        </p:nvGraphicFramePr>
        <p:xfrm>
          <a:off x="157163" y="4286335"/>
          <a:ext cx="8936037" cy="2190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5" name="Hoja de cálculo" r:id="rId17" imgW="5381557" imgH="2190840" progId="Excel.Sheet.12">
                  <p:link updateAutomatic="1"/>
                </p:oleObj>
              </mc:Choice>
              <mc:Fallback>
                <p:oleObj name="Hoja de cálculo" r:id="rId17" imgW="5381557" imgH="2190840" progId="Excel.Sheet.12">
                  <p:link updateAutomatic="1"/>
                  <p:pic>
                    <p:nvPicPr>
                      <p:cNvPr id="0" name="4 Objeto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7163" y="4286335"/>
                        <a:ext cx="8936037" cy="2190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59220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611560" y="5352381"/>
            <a:ext cx="374441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2800" b="1" dirty="0" smtClean="0">
                <a:solidFill>
                  <a:schemeClr val="bg1"/>
                </a:solidFill>
              </a:rPr>
              <a:t>Plan Aumento de Competitividad 2016</a:t>
            </a:r>
            <a:endParaRPr lang="es-CL" sz="2800" b="1" dirty="0">
              <a:solidFill>
                <a:schemeClr val="bg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5076056" y="5517232"/>
            <a:ext cx="28083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b="1" dirty="0" smtClean="0">
                <a:solidFill>
                  <a:schemeClr val="bg1"/>
                </a:solidFill>
              </a:rPr>
              <a:t>Nelson Pizarro Contador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5076056" y="5888305"/>
            <a:ext cx="35283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 smtClean="0">
                <a:solidFill>
                  <a:schemeClr val="bg1"/>
                </a:solidFill>
              </a:rPr>
              <a:t>14 </a:t>
            </a:r>
            <a:r>
              <a:rPr lang="es-MX" sz="1200" b="1" smtClean="0">
                <a:solidFill>
                  <a:schemeClr val="bg1"/>
                </a:solidFill>
              </a:rPr>
              <a:t>de </a:t>
            </a:r>
            <a:r>
              <a:rPr lang="es-MX" sz="1200" b="1" smtClean="0">
                <a:solidFill>
                  <a:schemeClr val="bg1"/>
                </a:solidFill>
              </a:rPr>
              <a:t>enero de  </a:t>
            </a:r>
            <a:r>
              <a:rPr lang="es-MX" sz="1200" b="1" dirty="0" smtClean="0">
                <a:solidFill>
                  <a:schemeClr val="bg1"/>
                </a:solidFill>
              </a:rPr>
              <a:t>2016</a:t>
            </a:r>
            <a:endParaRPr lang="es-CL" sz="1200" b="1" dirty="0">
              <a:solidFill>
                <a:schemeClr val="bg1"/>
              </a:solidFill>
            </a:endParaRPr>
          </a:p>
        </p:txBody>
      </p:sp>
      <p:cxnSp>
        <p:nvCxnSpPr>
          <p:cNvPr id="9" name="8 Conector recto"/>
          <p:cNvCxnSpPr/>
          <p:nvPr/>
        </p:nvCxnSpPr>
        <p:spPr>
          <a:xfrm>
            <a:off x="4716016" y="5373216"/>
            <a:ext cx="0" cy="10801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5587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475656" y="2780928"/>
            <a:ext cx="6552728" cy="1143000"/>
          </a:xfrm>
        </p:spPr>
        <p:txBody>
          <a:bodyPr/>
          <a:lstStyle/>
          <a:p>
            <a:r>
              <a:rPr lang="es-MX" dirty="0" smtClean="0"/>
              <a:t>Proyecciones económicas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135481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60843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3568" y="332656"/>
            <a:ext cx="8867328" cy="576064"/>
          </a:xfrm>
        </p:spPr>
        <p:txBody>
          <a:bodyPr/>
          <a:lstStyle/>
          <a:p>
            <a:pPr algn="l"/>
            <a:r>
              <a:rPr lang="es-ES" sz="2400" dirty="0" smtClean="0"/>
              <a:t>PRECIO </a:t>
            </a:r>
            <a:r>
              <a:rPr lang="es-ES" sz="2400" dirty="0"/>
              <a:t>DEL </a:t>
            </a:r>
            <a:r>
              <a:rPr lang="es-ES" sz="2400" dirty="0" smtClean="0"/>
              <a:t>COBRE</a:t>
            </a:r>
            <a:endParaRPr lang="es-ES" sz="2400" dirty="0"/>
          </a:p>
        </p:txBody>
      </p:sp>
      <p:sp>
        <p:nvSpPr>
          <p:cNvPr id="62" name="Text Box 5"/>
          <p:cNvSpPr txBox="1">
            <a:spLocks noChangeArrowheads="1"/>
          </p:cNvSpPr>
          <p:nvPr/>
        </p:nvSpPr>
        <p:spPr bwMode="auto">
          <a:xfrm>
            <a:off x="784772" y="2635396"/>
            <a:ext cx="1784350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es-CL" sz="1000">
                <a:solidFill>
                  <a:srgbClr val="000000"/>
                </a:solidFill>
              </a:rPr>
              <a:t>c/lb</a:t>
            </a:r>
          </a:p>
        </p:txBody>
      </p:sp>
      <p:sp>
        <p:nvSpPr>
          <p:cNvPr id="63" name="11 CuadroTexto"/>
          <p:cNvSpPr txBox="1">
            <a:spLocks noChangeArrowheads="1"/>
          </p:cNvSpPr>
          <p:nvPr/>
        </p:nvSpPr>
        <p:spPr bwMode="auto">
          <a:xfrm>
            <a:off x="449810" y="5713014"/>
            <a:ext cx="499922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CL" altLang="es-CL" sz="1000" dirty="0">
                <a:solidFill>
                  <a:srgbClr val="000000"/>
                </a:solidFill>
              </a:rPr>
              <a:t>*: Año 2016 al </a:t>
            </a:r>
            <a:r>
              <a:rPr lang="es-CL" altLang="es-CL" sz="1000" dirty="0" smtClean="0">
                <a:solidFill>
                  <a:srgbClr val="000000"/>
                </a:solidFill>
              </a:rPr>
              <a:t>13 </a:t>
            </a:r>
            <a:r>
              <a:rPr lang="es-CL" altLang="es-CL" sz="1000" dirty="0">
                <a:solidFill>
                  <a:srgbClr val="000000"/>
                </a:solidFill>
              </a:rPr>
              <a:t>de Enero.</a:t>
            </a:r>
          </a:p>
        </p:txBody>
      </p:sp>
      <p:graphicFrame>
        <p:nvGraphicFramePr>
          <p:cNvPr id="64" name="8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33655060"/>
              </p:ext>
            </p:extLst>
          </p:nvPr>
        </p:nvGraphicFramePr>
        <p:xfrm>
          <a:off x="418059" y="2817488"/>
          <a:ext cx="5257800" cy="2741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5" name="64 Redondear rectángulo de esquina diagonal"/>
          <p:cNvSpPr/>
          <p:nvPr/>
        </p:nvSpPr>
        <p:spPr>
          <a:xfrm>
            <a:off x="5715547" y="2174552"/>
            <a:ext cx="3302000" cy="3693392"/>
          </a:xfrm>
          <a:prstGeom prst="round2Diag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177800" indent="-177800" algn="just"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  <a:buFont typeface="Arial" pitchFamily="34" charset="0"/>
              <a:buChar char="•"/>
              <a:defRPr/>
            </a:pPr>
            <a:r>
              <a:rPr lang="es-ES" sz="1200" dirty="0">
                <a:solidFill>
                  <a:prstClr val="black"/>
                </a:solidFill>
              </a:rPr>
              <a:t>Deterioro y cambio de modelo de la economía de China, desaceleración de otros países emergentes, y deterioro en el balance esperado del mercado</a:t>
            </a:r>
            <a:r>
              <a:rPr lang="es-CL" sz="1200" dirty="0">
                <a:solidFill>
                  <a:prstClr val="black"/>
                </a:solidFill>
              </a:rPr>
              <a:t>.</a:t>
            </a:r>
          </a:p>
          <a:p>
            <a:pPr marL="177800" indent="-177800" algn="just"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  <a:buFont typeface="Arial" pitchFamily="34" charset="0"/>
              <a:buChar char="•"/>
              <a:defRPr/>
            </a:pPr>
            <a:r>
              <a:rPr lang="es-CL" sz="1200" dirty="0">
                <a:solidFill>
                  <a:prstClr val="black"/>
                </a:solidFill>
              </a:rPr>
              <a:t>Fuerte proceso de apreciación del dólar.</a:t>
            </a:r>
          </a:p>
          <a:p>
            <a:pPr marL="177800" indent="-177800" algn="just"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  <a:buFont typeface="Arial" pitchFamily="34" charset="0"/>
              <a:buChar char="•"/>
              <a:defRPr/>
            </a:pPr>
            <a:r>
              <a:rPr lang="es-CL" sz="1200" dirty="0">
                <a:solidFill>
                  <a:prstClr val="black"/>
                </a:solidFill>
              </a:rPr>
              <a:t>Incertidumbre por el aumento de tasas </a:t>
            </a:r>
            <a:br>
              <a:rPr lang="es-CL" sz="1200" dirty="0">
                <a:solidFill>
                  <a:prstClr val="black"/>
                </a:solidFill>
              </a:rPr>
            </a:br>
            <a:r>
              <a:rPr lang="es-CL" sz="1200" dirty="0">
                <a:solidFill>
                  <a:prstClr val="black"/>
                </a:solidFill>
              </a:rPr>
              <a:t>en Estados Unidos.</a:t>
            </a:r>
          </a:p>
          <a:p>
            <a:pPr marL="177800" indent="-177800" algn="just"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  <a:buFont typeface="Arial" pitchFamily="34" charset="0"/>
              <a:buChar char="•"/>
              <a:defRPr/>
            </a:pPr>
            <a:r>
              <a:rPr lang="es-CL" sz="1200" dirty="0">
                <a:solidFill>
                  <a:prstClr val="black"/>
                </a:solidFill>
              </a:rPr>
              <a:t>Crisis bursátil de China.</a:t>
            </a:r>
          </a:p>
          <a:p>
            <a:pPr marL="177800" indent="-177800" algn="just"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  <a:buFont typeface="Arial" pitchFamily="34" charset="0"/>
              <a:buChar char="•"/>
              <a:defRPr/>
            </a:pPr>
            <a:r>
              <a:rPr lang="es-CL" sz="1200" dirty="0">
                <a:solidFill>
                  <a:prstClr val="black"/>
                </a:solidFill>
              </a:rPr>
              <a:t>La caída del precio del petróleo.</a:t>
            </a:r>
          </a:p>
          <a:p>
            <a:pPr marL="177800" indent="-177800" algn="just"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  <a:buFont typeface="Arial" pitchFamily="34" charset="0"/>
              <a:buChar char="•"/>
              <a:defRPr/>
            </a:pPr>
            <a:r>
              <a:rPr lang="es-CL" sz="1200" dirty="0">
                <a:solidFill>
                  <a:prstClr val="black"/>
                </a:solidFill>
              </a:rPr>
              <a:t>Deterioro de las expectativas.</a:t>
            </a:r>
          </a:p>
          <a:p>
            <a:pPr marL="177800" indent="-177800" algn="just"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  <a:buFont typeface="Arial" pitchFamily="34" charset="0"/>
              <a:buChar char="•"/>
              <a:defRPr/>
            </a:pPr>
            <a:r>
              <a:rPr lang="es-CL" sz="1200" dirty="0">
                <a:solidFill>
                  <a:prstClr val="black"/>
                </a:solidFill>
              </a:rPr>
              <a:t>Otros factores:  </a:t>
            </a:r>
            <a:r>
              <a:rPr lang="es-CL" sz="1200" dirty="0" err="1">
                <a:solidFill>
                  <a:prstClr val="black"/>
                </a:solidFill>
              </a:rPr>
              <a:t>Grexit</a:t>
            </a:r>
            <a:r>
              <a:rPr lang="es-CL" sz="1200" dirty="0">
                <a:solidFill>
                  <a:prstClr val="black"/>
                </a:solidFill>
              </a:rPr>
              <a:t> e imperfecciones del mercado financiero chino.</a:t>
            </a:r>
          </a:p>
        </p:txBody>
      </p:sp>
      <p:sp>
        <p:nvSpPr>
          <p:cNvPr id="66" name="65 Redondear rectángulo de esquina diagonal"/>
          <p:cNvSpPr/>
          <p:nvPr/>
        </p:nvSpPr>
        <p:spPr>
          <a:xfrm>
            <a:off x="683567" y="2174552"/>
            <a:ext cx="4648505" cy="439709"/>
          </a:xfrm>
          <a:prstGeom prst="round2Diag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defTabSz="457200">
              <a:spcBef>
                <a:spcPts val="400"/>
              </a:spcBef>
              <a:spcAft>
                <a:spcPts val="400"/>
              </a:spcAft>
              <a:buClr>
                <a:srgbClr val="FFCC00"/>
              </a:buClr>
            </a:pPr>
            <a:r>
              <a:rPr lang="es-CL" sz="14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RECIO DEL COBRE: 2011-2016</a:t>
            </a:r>
            <a:r>
              <a:rPr lang="es-CL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*</a:t>
            </a:r>
            <a:endParaRPr lang="es-CL" sz="14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1 Título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784772" y="1052736"/>
            <a:ext cx="7891684" cy="86409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000" dirty="0" smtClean="0"/>
              <a:t>Desde el año 2011, el precio del cobre ha mostrado una </a:t>
            </a:r>
            <a:r>
              <a:rPr lang="es-ES" sz="2000" b="1" dirty="0" smtClean="0">
                <a:solidFill>
                  <a:srgbClr val="E4841A"/>
                </a:solidFill>
              </a:rPr>
              <a:t>tendencia descendente</a:t>
            </a:r>
            <a:r>
              <a:rPr lang="es-ES" sz="2000" dirty="0" smtClean="0"/>
              <a:t>, que se ha agudizado en el último tiempo, rompiendo la barrera de los US$ 2 / lb</a:t>
            </a:r>
            <a:endParaRPr lang="es-ES" sz="2000" dirty="0"/>
          </a:p>
        </p:txBody>
      </p:sp>
    </p:spTree>
    <p:extLst>
      <p:ext uri="{BB962C8B-B14F-4D97-AF65-F5344CB8AC3E}">
        <p14:creationId xmlns:p14="http://schemas.microsoft.com/office/powerpoint/2010/main" val="2649696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08754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84482" y="266552"/>
            <a:ext cx="7459926" cy="576064"/>
          </a:xfrm>
        </p:spPr>
        <p:txBody>
          <a:bodyPr/>
          <a:lstStyle/>
          <a:p>
            <a:pPr algn="l"/>
            <a:r>
              <a:rPr lang="es-ES" sz="2400" dirty="0"/>
              <a:t>PROYECCIONES </a:t>
            </a:r>
            <a:r>
              <a:rPr lang="es-ES" sz="2400" dirty="0" smtClean="0"/>
              <a:t>ECONÓMICAS</a:t>
            </a:r>
            <a:endParaRPr lang="es-ES" sz="2400" dirty="0"/>
          </a:p>
        </p:txBody>
      </p:sp>
      <p:sp>
        <p:nvSpPr>
          <p:cNvPr id="9" name="8 Rectángulo"/>
          <p:cNvSpPr/>
          <p:nvPr/>
        </p:nvSpPr>
        <p:spPr>
          <a:xfrm>
            <a:off x="3563888" y="882356"/>
            <a:ext cx="4968552" cy="3019408"/>
          </a:xfrm>
          <a:prstGeom prst="rect">
            <a:avLst/>
          </a:prstGeom>
          <a:ln w="381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10" name="9 Gráfico"/>
          <p:cNvGraphicFramePr/>
          <p:nvPr>
            <p:extLst>
              <p:ext uri="{D42A27DB-BD31-4B8C-83A1-F6EECF244321}">
                <p14:modId xmlns:p14="http://schemas.microsoft.com/office/powerpoint/2010/main" val="2453722966"/>
              </p:ext>
            </p:extLst>
          </p:nvPr>
        </p:nvGraphicFramePr>
        <p:xfrm>
          <a:off x="458259" y="4291936"/>
          <a:ext cx="2457467" cy="20499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1743282402"/>
              </p:ext>
            </p:extLst>
          </p:nvPr>
        </p:nvGraphicFramePr>
        <p:xfrm>
          <a:off x="3779912" y="1232108"/>
          <a:ext cx="4580899" cy="2678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2" name="11 Gráfico"/>
          <p:cNvGraphicFramePr/>
          <p:nvPr>
            <p:extLst>
              <p:ext uri="{D42A27DB-BD31-4B8C-83A1-F6EECF244321}">
                <p14:modId xmlns:p14="http://schemas.microsoft.com/office/powerpoint/2010/main" val="1502956712"/>
              </p:ext>
            </p:extLst>
          </p:nvPr>
        </p:nvGraphicFramePr>
        <p:xfrm>
          <a:off x="3227461" y="4383499"/>
          <a:ext cx="2457467" cy="1992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3" name="12 Gráfico"/>
          <p:cNvGraphicFramePr/>
          <p:nvPr>
            <p:extLst>
              <p:ext uri="{D42A27DB-BD31-4B8C-83A1-F6EECF244321}">
                <p14:modId xmlns:p14="http://schemas.microsoft.com/office/powerpoint/2010/main" val="2373186325"/>
              </p:ext>
            </p:extLst>
          </p:nvPr>
        </p:nvGraphicFramePr>
        <p:xfrm>
          <a:off x="6150931" y="4388565"/>
          <a:ext cx="2457467" cy="19927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4283968" y="947744"/>
            <a:ext cx="3518496" cy="257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charset="0"/>
              </a:rPr>
              <a:t>CHINA ( 17,2%)*</a:t>
            </a:r>
          </a:p>
        </p:txBody>
      </p:sp>
      <p:sp>
        <p:nvSpPr>
          <p:cNvPr id="15" name="Rectangle 12"/>
          <p:cNvSpPr>
            <a:spLocks noChangeArrowheads="1"/>
          </p:cNvSpPr>
          <p:nvPr/>
        </p:nvSpPr>
        <p:spPr bwMode="auto">
          <a:xfrm>
            <a:off x="3122462" y="4114245"/>
            <a:ext cx="2889698" cy="177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2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charset="0"/>
              </a:rPr>
              <a:t>ECONOMÍAS AVANZADAS (42,4%)*</a:t>
            </a:r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5945424" y="4117172"/>
            <a:ext cx="2875048" cy="14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200" b="1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charset="0"/>
              </a:rPr>
              <a:t>OTROS PAÍSES EN DESARROLLO (40,3%)*</a:t>
            </a:r>
          </a:p>
        </p:txBody>
      </p:sp>
      <p:sp>
        <p:nvSpPr>
          <p:cNvPr id="17" name="Text Box 43"/>
          <p:cNvSpPr txBox="1">
            <a:spLocks noChangeArrowheads="1"/>
          </p:cNvSpPr>
          <p:nvPr/>
        </p:nvSpPr>
        <p:spPr bwMode="auto">
          <a:xfrm>
            <a:off x="241348" y="3378478"/>
            <a:ext cx="288111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800" kern="0" dirty="0">
                <a:solidFill>
                  <a:srgbClr val="000000"/>
                </a:solidFill>
                <a:latin typeface="+mj-lt"/>
                <a:cs typeface="Arial" charset="0"/>
              </a:rPr>
              <a:t>*: Participación en el PIB Mundial el año 2015 (PIB PPP). </a:t>
            </a:r>
          </a:p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MX" sz="800" kern="0" dirty="0">
                <a:solidFill>
                  <a:srgbClr val="000000"/>
                </a:solidFill>
                <a:latin typeface="+mj-lt"/>
                <a:cs typeface="Arial" charset="0"/>
              </a:rPr>
              <a:t>Fuentes: FMI y Consensus Economics.</a:t>
            </a:r>
            <a:endParaRPr lang="es-ES" sz="800" kern="0" dirty="0">
              <a:solidFill>
                <a:srgbClr val="000000"/>
              </a:solidFill>
              <a:latin typeface="+mj-lt"/>
              <a:cs typeface="Arial" charset="0"/>
            </a:endParaRPr>
          </a:p>
        </p:txBody>
      </p:sp>
      <p:sp>
        <p:nvSpPr>
          <p:cNvPr id="18" name="Rectangle 12"/>
          <p:cNvSpPr>
            <a:spLocks noChangeArrowheads="1"/>
          </p:cNvSpPr>
          <p:nvPr/>
        </p:nvSpPr>
        <p:spPr bwMode="auto">
          <a:xfrm>
            <a:off x="242143" y="4115643"/>
            <a:ext cx="2889697" cy="1774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L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charset="0"/>
              </a:rPr>
              <a:t>MUNDO</a:t>
            </a:r>
            <a:endParaRPr lang="es-CL" sz="1200" b="1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Arial" charset="0"/>
            </a:endParaRPr>
          </a:p>
        </p:txBody>
      </p:sp>
      <p:sp>
        <p:nvSpPr>
          <p:cNvPr id="19" name="1 Título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72104" y="1195542"/>
            <a:ext cx="2531743" cy="194542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000" b="0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" sz="2000" b="1" dirty="0" smtClean="0"/>
              <a:t>FUERTE DESACELERACIÓN DE LA ECONOMÍA CHINA</a:t>
            </a:r>
            <a:br>
              <a:rPr lang="es-ES" sz="2000" b="1" dirty="0" smtClean="0"/>
            </a:br>
            <a:r>
              <a:rPr lang="es-ES" sz="2000" b="1" dirty="0" smtClean="0"/>
              <a:t>Proyecciones de crecimiento del PIB, %</a:t>
            </a:r>
            <a:endParaRPr lang="es-ES" sz="2000" b="1" dirty="0"/>
          </a:p>
        </p:txBody>
      </p:sp>
    </p:spTree>
    <p:extLst>
      <p:ext uri="{BB962C8B-B14F-4D97-AF65-F5344CB8AC3E}">
        <p14:creationId xmlns:p14="http://schemas.microsoft.com/office/powerpoint/2010/main" val="2780218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56159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3568" y="188640"/>
            <a:ext cx="7992888" cy="576064"/>
          </a:xfrm>
        </p:spPr>
        <p:txBody>
          <a:bodyPr/>
          <a:lstStyle/>
          <a:p>
            <a:pPr algn="l"/>
            <a:r>
              <a:rPr lang="es-ES" sz="2400" dirty="0"/>
              <a:t>LAS PROYECCIONES DE PRECIOS SE HAN HECHO CADA VEZ MÁS CONSERVADORAS</a:t>
            </a:r>
          </a:p>
        </p:txBody>
      </p:sp>
      <p:graphicFrame>
        <p:nvGraphicFramePr>
          <p:cNvPr id="23" name="2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5394596"/>
              </p:ext>
            </p:extLst>
          </p:nvPr>
        </p:nvGraphicFramePr>
        <p:xfrm>
          <a:off x="3491882" y="4182765"/>
          <a:ext cx="5040558" cy="1877852"/>
        </p:xfrm>
        <a:graphic>
          <a:graphicData uri="http://schemas.openxmlformats.org/drawingml/2006/table">
            <a:tbl>
              <a:tblPr firstRow="1">
                <a:tableStyleId>{BC89EF96-8CEA-46FF-86C4-4CE0E7609802}</a:tableStyleId>
              </a:tblPr>
              <a:tblGrid>
                <a:gridCol w="2098939"/>
                <a:gridCol w="501226"/>
                <a:gridCol w="479313"/>
                <a:gridCol w="490270"/>
                <a:gridCol w="490270"/>
                <a:gridCol w="490270"/>
                <a:gridCol w="490270"/>
              </a:tblGrid>
              <a:tr h="479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 smtClean="0">
                          <a:effectLst/>
                        </a:rPr>
                        <a:t>2015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 smtClean="0">
                          <a:effectLst/>
                        </a:rPr>
                        <a:t>2016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 smtClean="0">
                          <a:effectLst/>
                        </a:rPr>
                        <a:t>2017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 smtClean="0">
                          <a:effectLst/>
                        </a:rPr>
                        <a:t>2018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 smtClean="0">
                          <a:effectLst/>
                        </a:rPr>
                        <a:t>2019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 smtClean="0">
                          <a:effectLst/>
                        </a:rPr>
                        <a:t>2020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479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CL" sz="1200" u="none" strike="noStrike" dirty="0" smtClean="0">
                          <a:effectLst/>
                        </a:rPr>
                        <a:t>Promedio analistas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>
                          <a:effectLst/>
                        </a:rPr>
                        <a:t>250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>
                          <a:effectLst/>
                        </a:rPr>
                        <a:t>218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>
                          <a:effectLst/>
                        </a:rPr>
                        <a:t>215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>
                          <a:effectLst/>
                        </a:rPr>
                        <a:t>240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>
                          <a:effectLst/>
                        </a:rPr>
                        <a:t>255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fontAlgn="ctr"/>
                      <a:r>
                        <a:rPr lang="es-CL" sz="1200" u="none" strike="noStrike" dirty="0">
                          <a:effectLst/>
                        </a:rPr>
                        <a:t>293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43806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CL" sz="1200" u="none" strike="noStrike" dirty="0">
                          <a:effectLst/>
                        </a:rPr>
                        <a:t>Promedio </a:t>
                      </a:r>
                      <a:r>
                        <a:rPr lang="es-CL" sz="1200" u="none" strike="noStrike" dirty="0" smtClean="0">
                          <a:effectLst/>
                        </a:rPr>
                        <a:t>bancos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>
                          <a:effectLst/>
                        </a:rPr>
                        <a:t>251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 smtClean="0">
                          <a:effectLst/>
                        </a:rPr>
                        <a:t>224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 smtClean="0">
                          <a:effectLst/>
                        </a:rPr>
                        <a:t>233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>
                          <a:effectLst/>
                        </a:rPr>
                        <a:t>246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 smtClean="0">
                          <a:effectLst/>
                        </a:rPr>
                        <a:t>245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>
                          <a:effectLst/>
                        </a:rPr>
                        <a:t>258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4799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l" fontAlgn="b"/>
                      <a:r>
                        <a:rPr lang="es-CL" sz="1200" u="none" strike="noStrike" dirty="0">
                          <a:effectLst/>
                        </a:rPr>
                        <a:t>Promedio </a:t>
                      </a:r>
                      <a:r>
                        <a:rPr lang="es-CL" sz="1200" u="none" strike="noStrike" dirty="0" smtClean="0">
                          <a:effectLst/>
                        </a:rPr>
                        <a:t>analistas </a:t>
                      </a:r>
                      <a:r>
                        <a:rPr lang="es-CL" sz="1200" u="none" strike="noStrike" dirty="0">
                          <a:effectLst/>
                        </a:rPr>
                        <a:t>&amp; </a:t>
                      </a:r>
                      <a:r>
                        <a:rPr lang="es-CL" sz="1200" u="none" strike="noStrike" dirty="0" smtClean="0">
                          <a:effectLst/>
                        </a:rPr>
                        <a:t>bancos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>
                          <a:effectLst/>
                        </a:rPr>
                        <a:t>250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 smtClean="0">
                          <a:effectLst/>
                        </a:rPr>
                        <a:t>224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 smtClean="0">
                          <a:effectLst/>
                        </a:rPr>
                        <a:t>232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>
                          <a:effectLst/>
                        </a:rPr>
                        <a:t>246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>
                          <a:effectLst/>
                        </a:rPr>
                        <a:t>246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  <a:ea typeface=""/>
                          <a:cs typeface=""/>
                        </a:defRPr>
                      </a:lvl9pPr>
                    </a:lstStyle>
                    <a:p>
                      <a:pPr algn="ctr" rtl="0" fontAlgn="ctr"/>
                      <a:r>
                        <a:rPr lang="es-CL" sz="1200" u="none" strike="noStrike" dirty="0">
                          <a:effectLst/>
                        </a:rPr>
                        <a:t>264</a:t>
                      </a:r>
                      <a:endParaRPr lang="es-CL" sz="12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4" name="1 Título"/>
          <p:cNvSpPr txBox="1">
            <a:spLocks/>
          </p:cNvSpPr>
          <p:nvPr/>
        </p:nvSpPr>
        <p:spPr>
          <a:xfrm>
            <a:off x="395536" y="4183360"/>
            <a:ext cx="2500614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</a:rPr>
              <a:t>Pronósticos recientes del precio del cobre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cs typeface="Arial" charset="0"/>
              </a:rPr>
              <a:t>c/lb, moneda 2016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cs typeface="Arial" charset="0"/>
            </a:endParaRPr>
          </a:p>
        </p:txBody>
      </p:sp>
      <p:graphicFrame>
        <p:nvGraphicFramePr>
          <p:cNvPr id="25" name="24 Gráfico"/>
          <p:cNvGraphicFramePr/>
          <p:nvPr>
            <p:extLst>
              <p:ext uri="{D42A27DB-BD31-4B8C-83A1-F6EECF244321}">
                <p14:modId xmlns:p14="http://schemas.microsoft.com/office/powerpoint/2010/main" val="2744653296"/>
              </p:ext>
            </p:extLst>
          </p:nvPr>
        </p:nvGraphicFramePr>
        <p:xfrm>
          <a:off x="3059832" y="1052736"/>
          <a:ext cx="4824536" cy="2709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6" name="1 Título"/>
          <p:cNvSpPr txBox="1">
            <a:spLocks/>
          </p:cNvSpPr>
          <p:nvPr/>
        </p:nvSpPr>
        <p:spPr>
          <a:xfrm>
            <a:off x="899592" y="1196752"/>
            <a:ext cx="1842077" cy="7060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</a:rPr>
              <a:t>Balance de Cobre Refinado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cs typeface="Arial" charset="0"/>
              </a:rPr>
              <a:t>Miles de </a:t>
            </a:r>
            <a:r>
              <a:rPr kumimoji="0" lang="es-MX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/>
                <a:cs typeface="Arial" charset="0"/>
              </a:rPr>
              <a:t>tmf</a:t>
            </a:r>
            <a:endParaRPr kumimoji="0" lang="es-ES" sz="18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0760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28441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3568" y="332656"/>
            <a:ext cx="7200800" cy="576064"/>
          </a:xfrm>
        </p:spPr>
        <p:txBody>
          <a:bodyPr/>
          <a:lstStyle/>
          <a:p>
            <a:pPr algn="l"/>
            <a:r>
              <a:rPr lang="es-ES" sz="2400" dirty="0"/>
              <a:t>LOS RIESGOS DEL NUEVO ENFOQUE DE CHINA</a:t>
            </a:r>
          </a:p>
        </p:txBody>
      </p:sp>
      <p:sp>
        <p:nvSpPr>
          <p:cNvPr id="11" name="10 Redondear rectángulo de esquina diagonal"/>
          <p:cNvSpPr/>
          <p:nvPr/>
        </p:nvSpPr>
        <p:spPr>
          <a:xfrm>
            <a:off x="425079" y="1340769"/>
            <a:ext cx="8039148" cy="360040"/>
          </a:xfrm>
          <a:prstGeom prst="round2DiagRect">
            <a:avLst/>
          </a:prstGeom>
          <a:solidFill>
            <a:sysClr val="window" lastClr="FFFFFF"/>
          </a:solidFill>
          <a:ln w="38100" cap="flat" cmpd="sng" algn="ctr">
            <a:noFill/>
            <a:prstDash val="solid"/>
          </a:ln>
          <a:effectLst/>
        </p:spPr>
        <p:txBody>
          <a:bodyPr anchor="ctr"/>
          <a:lstStyle/>
          <a:p>
            <a:pPr marL="95250" marR="0" lvl="1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CC00"/>
              </a:buClr>
              <a:buSzTx/>
              <a:buFontTx/>
              <a:buNone/>
              <a:tabLst/>
              <a:defRPr/>
            </a:pPr>
            <a:r>
              <a:rPr kumimoji="0" lang="es-CL" b="1" i="0" u="none" strike="noStrike" kern="0" cap="all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/>
              </a:rPr>
              <a:t>RIESGOS 2016: </a:t>
            </a:r>
          </a:p>
          <a:p>
            <a:pPr marL="95250" marR="0" lvl="1" indent="0" algn="ctr" defTabSz="91440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FFCC00"/>
              </a:buClr>
              <a:buSzTx/>
              <a:buFontTx/>
              <a:buNone/>
              <a:tabLst/>
              <a:defRPr/>
            </a:pPr>
            <a:r>
              <a:rPr kumimoji="0" lang="es-CL" b="1" i="0" u="none" strike="noStrike" kern="0" cap="all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/>
              </a:rPr>
              <a:t>precio del cobre entre 180 – 210 c/lb</a:t>
            </a:r>
            <a:endParaRPr kumimoji="0" lang="es-CL" b="1" i="0" u="none" strike="noStrike" kern="0" cap="all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4" name="3 Lágrima"/>
          <p:cNvSpPr/>
          <p:nvPr/>
        </p:nvSpPr>
        <p:spPr>
          <a:xfrm>
            <a:off x="4716016" y="2413625"/>
            <a:ext cx="3591097" cy="3591097"/>
          </a:xfrm>
          <a:prstGeom prst="teardrop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5148064" y="3380644"/>
            <a:ext cx="2732844" cy="15850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just" fontAlgn="base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Arial" pitchFamily="34" charset="0"/>
              <a:buChar char="•"/>
              <a:defRPr/>
            </a:pPr>
            <a:r>
              <a:rPr lang="es-CL" sz="1600" b="1" kern="0" dirty="0">
                <a:solidFill>
                  <a:prstClr val="black"/>
                </a:solidFill>
              </a:rPr>
              <a:t>Impactos al alza:</a:t>
            </a:r>
          </a:p>
          <a:p>
            <a:pPr marL="442913" lvl="1" indent="-177800" algn="just" fontAlgn="base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Calibri" pitchFamily="34" charset="0"/>
              <a:buChar char="‐"/>
              <a:defRPr/>
            </a:pPr>
            <a:r>
              <a:rPr lang="es-CL" sz="1600" kern="0" dirty="0">
                <a:solidFill>
                  <a:prstClr val="black"/>
                </a:solidFill>
              </a:rPr>
              <a:t>Impulso a las exportaciones por devaluación del RMB.</a:t>
            </a:r>
          </a:p>
          <a:p>
            <a:endParaRPr lang="es-CL" dirty="0"/>
          </a:p>
        </p:txBody>
      </p:sp>
      <p:sp>
        <p:nvSpPr>
          <p:cNvPr id="10" name="9 Lágrima"/>
          <p:cNvSpPr/>
          <p:nvPr/>
        </p:nvSpPr>
        <p:spPr>
          <a:xfrm rot="10800000">
            <a:off x="755576" y="2341617"/>
            <a:ext cx="3663104" cy="3663104"/>
          </a:xfrm>
          <a:prstGeom prst="teardrop">
            <a:avLst/>
          </a:prstGeom>
          <a:solidFill>
            <a:schemeClr val="bg1">
              <a:lumMod val="95000"/>
            </a:schemeClr>
          </a:solidFill>
          <a:ln>
            <a:solidFill>
              <a:srgbClr val="E4841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1182971" y="2989689"/>
            <a:ext cx="3173005" cy="30315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fontAlgn="base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Arial" pitchFamily="34" charset="0"/>
              <a:buChar char="•"/>
              <a:defRPr/>
            </a:pPr>
            <a:r>
              <a:rPr lang="es-CL" sz="1600" b="1" kern="0" dirty="0">
                <a:solidFill>
                  <a:prstClr val="black"/>
                </a:solidFill>
              </a:rPr>
              <a:t>Impactos a la baja:</a:t>
            </a:r>
          </a:p>
          <a:p>
            <a:pPr marL="442913" lvl="1" indent="-177800" fontAlgn="base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Calibri" pitchFamily="34" charset="0"/>
              <a:buChar char="‐"/>
              <a:defRPr/>
            </a:pPr>
            <a:r>
              <a:rPr lang="es-CL" sz="1600" kern="0" dirty="0">
                <a:solidFill>
                  <a:prstClr val="black"/>
                </a:solidFill>
              </a:rPr>
              <a:t>Baja inversión de gobierno.</a:t>
            </a:r>
          </a:p>
          <a:p>
            <a:pPr marL="442913" lvl="1" indent="-177800" fontAlgn="base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Calibri" pitchFamily="34" charset="0"/>
              <a:buChar char="‐"/>
              <a:defRPr/>
            </a:pPr>
            <a:r>
              <a:rPr lang="es-CL" sz="1600" kern="0" dirty="0">
                <a:solidFill>
                  <a:prstClr val="black"/>
                </a:solidFill>
              </a:rPr>
              <a:t>Mayor desaceleración construcción.</a:t>
            </a:r>
          </a:p>
          <a:p>
            <a:pPr marL="442913" lvl="1" indent="-177800" fontAlgn="base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Calibri" pitchFamily="34" charset="0"/>
              <a:buChar char="‐"/>
              <a:defRPr/>
            </a:pPr>
            <a:r>
              <a:rPr lang="es-CL" sz="1600" kern="0" dirty="0">
                <a:solidFill>
                  <a:prstClr val="black"/>
                </a:solidFill>
              </a:rPr>
              <a:t>Avance lento en reformas.</a:t>
            </a:r>
          </a:p>
          <a:p>
            <a:pPr marL="442913" lvl="1" indent="-177800" fontAlgn="base">
              <a:spcBef>
                <a:spcPts val="600"/>
              </a:spcBef>
              <a:spcAft>
                <a:spcPts val="600"/>
              </a:spcAft>
              <a:buClr>
                <a:srgbClr val="FF6600"/>
              </a:buClr>
              <a:buFont typeface="Calibri" pitchFamily="34" charset="0"/>
              <a:buChar char="‐"/>
              <a:defRPr/>
            </a:pPr>
            <a:r>
              <a:rPr lang="es-CL" sz="1600" kern="0" dirty="0">
                <a:solidFill>
                  <a:prstClr val="black"/>
                </a:solidFill>
              </a:rPr>
              <a:t>Mayor aumento de inventarios (salida exceso capacidad).</a:t>
            </a:r>
          </a:p>
          <a:p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614914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475656" y="2780928"/>
            <a:ext cx="6552728" cy="1143000"/>
          </a:xfrm>
        </p:spPr>
        <p:txBody>
          <a:bodyPr/>
          <a:lstStyle/>
          <a:p>
            <a:r>
              <a:rPr lang="es-MX" dirty="0" smtClean="0"/>
              <a:t>Resultados plan de reducción de costos 2015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92998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72411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4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Rectángulo"/>
          <p:cNvSpPr/>
          <p:nvPr>
            <p:custDataLst>
              <p:tags r:id="rId3"/>
            </p:custDataLst>
          </p:nvPr>
        </p:nvSpPr>
        <p:spPr>
          <a:xfrm>
            <a:off x="0" y="6352329"/>
            <a:ext cx="9144000" cy="50567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29289" y="272810"/>
            <a:ext cx="8867328" cy="576064"/>
          </a:xfrm>
        </p:spPr>
        <p:txBody>
          <a:bodyPr/>
          <a:lstStyle/>
          <a:p>
            <a:pPr algn="l"/>
            <a:r>
              <a:rPr lang="es-ES" sz="2400" dirty="0" smtClean="0"/>
              <a:t>LO QUE COMPROMETIMOS: PLAN DE REDUCCIÓN DE COSTOS 2015</a:t>
            </a:r>
            <a:endParaRPr lang="es-ES" sz="2400" dirty="0"/>
          </a:p>
        </p:txBody>
      </p:sp>
      <p:pic>
        <p:nvPicPr>
          <p:cNvPr id="5" name="Picture 4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3049908" y="786820"/>
            <a:ext cx="3472812" cy="1934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6 Rectángulo"/>
          <p:cNvSpPr/>
          <p:nvPr>
            <p:custDataLst>
              <p:tags r:id="rId6"/>
            </p:custDataLst>
          </p:nvPr>
        </p:nvSpPr>
        <p:spPr>
          <a:xfrm>
            <a:off x="5769194" y="803046"/>
            <a:ext cx="1214446" cy="857256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Ahorro por caída de precios de insumo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MUS 489</a:t>
            </a:r>
          </a:p>
        </p:txBody>
      </p:sp>
      <p:sp>
        <p:nvSpPr>
          <p:cNvPr id="8" name="7 Rectángulo"/>
          <p:cNvSpPr/>
          <p:nvPr>
            <p:custDataLst>
              <p:tags r:id="rId7"/>
            </p:custDataLst>
          </p:nvPr>
        </p:nvSpPr>
        <p:spPr>
          <a:xfrm>
            <a:off x="2517550" y="802869"/>
            <a:ext cx="1214446" cy="857256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txBody>
          <a:bodyPr l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2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Eficiencia  y Productivida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L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MUS 493</a:t>
            </a:r>
          </a:p>
        </p:txBody>
      </p:sp>
      <p:grpSp>
        <p:nvGrpSpPr>
          <p:cNvPr id="9" name="8 Grupo"/>
          <p:cNvGrpSpPr/>
          <p:nvPr>
            <p:custDataLst>
              <p:tags r:id="rId8"/>
            </p:custDataLst>
          </p:nvPr>
        </p:nvGrpSpPr>
        <p:grpSpPr>
          <a:xfrm>
            <a:off x="1147933" y="1733718"/>
            <a:ext cx="7358557" cy="3464321"/>
            <a:chOff x="864457" y="2029979"/>
            <a:chExt cx="7993740" cy="3863113"/>
          </a:xfrm>
        </p:grpSpPr>
        <p:grpSp>
          <p:nvGrpSpPr>
            <p:cNvPr id="10" name="9 Grupo"/>
            <p:cNvGrpSpPr/>
            <p:nvPr/>
          </p:nvGrpSpPr>
          <p:grpSpPr>
            <a:xfrm>
              <a:off x="864457" y="2029979"/>
              <a:ext cx="7993740" cy="3863113"/>
              <a:chOff x="864466" y="2029968"/>
              <a:chExt cx="7993809" cy="3863093"/>
            </a:xfrm>
          </p:grpSpPr>
          <p:pic>
            <p:nvPicPr>
              <p:cNvPr id="18" name="Picture 1"/>
              <p:cNvPicPr>
                <a:picLocks noChangeAspect="1" noChangeArrowheads="1"/>
              </p:cNvPicPr>
              <p:nvPr/>
            </p:nvPicPr>
            <p:blipFill>
              <a:blip r:embed="rId22" cstate="print"/>
              <a:srcRect/>
              <a:stretch>
                <a:fillRect/>
              </a:stretch>
            </p:blipFill>
            <p:spPr bwMode="auto">
              <a:xfrm>
                <a:off x="4786311" y="3358314"/>
                <a:ext cx="4071964" cy="23204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0" name="Picture 2"/>
              <p:cNvPicPr>
                <a:picLocks noChangeAspect="1" noChangeArrowheads="1"/>
              </p:cNvPicPr>
              <p:nvPr/>
            </p:nvPicPr>
            <p:blipFill>
              <a:blip r:embed="rId23" cstate="print"/>
              <a:srcRect/>
              <a:stretch>
                <a:fillRect/>
              </a:stretch>
            </p:blipFill>
            <p:spPr bwMode="auto">
              <a:xfrm>
                <a:off x="864466" y="3535607"/>
                <a:ext cx="3850408" cy="23574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sp>
            <p:nvSpPr>
              <p:cNvPr id="21" name="20 Forma libre"/>
              <p:cNvSpPr/>
              <p:nvPr/>
            </p:nvSpPr>
            <p:spPr>
              <a:xfrm>
                <a:off x="2571736" y="2029968"/>
                <a:ext cx="1243583" cy="1256156"/>
              </a:xfrm>
              <a:custGeom>
                <a:avLst/>
                <a:gdLst>
                  <a:gd name="connsiteX0" fmla="*/ 1243584 w 1243584"/>
                  <a:gd name="connsiteY0" fmla="*/ 0 h 1060704"/>
                  <a:gd name="connsiteX1" fmla="*/ 0 w 1243584"/>
                  <a:gd name="connsiteY1" fmla="*/ 0 h 1060704"/>
                  <a:gd name="connsiteX2" fmla="*/ 0 w 1243584"/>
                  <a:gd name="connsiteY2" fmla="*/ 1060704 h 1060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3584" h="1060704">
                    <a:moveTo>
                      <a:pt x="1243584" y="0"/>
                    </a:moveTo>
                    <a:lnTo>
                      <a:pt x="0" y="0"/>
                    </a:lnTo>
                    <a:lnTo>
                      <a:pt x="0" y="1060704"/>
                    </a:lnTo>
                  </a:path>
                </a:pathLst>
              </a:custGeom>
              <a:noFill/>
              <a:ln w="9525" cap="flat" cmpd="sng" algn="ctr">
                <a:solidFill>
                  <a:srgbClr val="1F497D"/>
                </a:solidFill>
                <a:prstDash val="solid"/>
                <a:headEnd type="none" w="med" len="med"/>
                <a:tailEnd type="triangle" w="lg" len="lg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2" name="21 Forma libre"/>
              <p:cNvSpPr/>
              <p:nvPr/>
            </p:nvSpPr>
            <p:spPr>
              <a:xfrm flipH="1">
                <a:off x="5786446" y="2029968"/>
                <a:ext cx="1243583" cy="1256156"/>
              </a:xfrm>
              <a:custGeom>
                <a:avLst/>
                <a:gdLst>
                  <a:gd name="connsiteX0" fmla="*/ 1243584 w 1243584"/>
                  <a:gd name="connsiteY0" fmla="*/ 0 h 1060704"/>
                  <a:gd name="connsiteX1" fmla="*/ 0 w 1243584"/>
                  <a:gd name="connsiteY1" fmla="*/ 0 h 1060704"/>
                  <a:gd name="connsiteX2" fmla="*/ 0 w 1243584"/>
                  <a:gd name="connsiteY2" fmla="*/ 1060704 h 10607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243584" h="1060704">
                    <a:moveTo>
                      <a:pt x="1243584" y="0"/>
                    </a:moveTo>
                    <a:lnTo>
                      <a:pt x="0" y="0"/>
                    </a:lnTo>
                    <a:lnTo>
                      <a:pt x="0" y="1060704"/>
                    </a:lnTo>
                  </a:path>
                </a:pathLst>
              </a:custGeom>
              <a:noFill/>
              <a:ln w="9525" cap="flat" cmpd="sng" algn="ctr">
                <a:solidFill>
                  <a:srgbClr val="9BBB59"/>
                </a:solidFill>
                <a:prstDash val="solid"/>
                <a:headEnd type="none" w="med" len="med"/>
                <a:tailEnd type="triangle" w="lg" len="lg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CL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</p:grpSp>
        <p:pic>
          <p:nvPicPr>
            <p:cNvPr id="11" name="Picture 2"/>
            <p:cNvPicPr>
              <a:picLocks noChangeAspect="1" noChangeArrowheads="1"/>
            </p:cNvPicPr>
            <p:nvPr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9091" t="54289" r="27518" b="38988"/>
            <a:stretch/>
          </p:blipFill>
          <p:spPr bwMode="auto">
            <a:xfrm>
              <a:off x="2156108" y="4826155"/>
              <a:ext cx="79686" cy="1776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094" t="50000" r="10418" b="41986"/>
            <a:stretch/>
          </p:blipFill>
          <p:spPr bwMode="auto">
            <a:xfrm>
              <a:off x="3399151" y="4596377"/>
              <a:ext cx="91439" cy="16562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3" name="Picture 1"/>
            <p:cNvPicPr>
              <a:picLocks noChangeAspect="1" noChangeArrowheads="1"/>
            </p:cNvPicPr>
            <p:nvPr/>
          </p:nvPicPr>
          <p:blipFill rotWithShape="1">
            <a:blip r:embed="rId22" cstate="print"/>
            <a:srcRect l="44498" t="61317" r="54380" b="32515"/>
            <a:stretch/>
          </p:blipFill>
          <p:spPr bwMode="auto">
            <a:xfrm>
              <a:off x="6058862" y="5041155"/>
              <a:ext cx="45719" cy="143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4" name="13 Rectángulo"/>
            <p:cNvSpPr/>
            <p:nvPr/>
          </p:nvSpPr>
          <p:spPr>
            <a:xfrm>
              <a:off x="8368224" y="5538110"/>
              <a:ext cx="61623" cy="2249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15" name="14 Rectángulo"/>
            <p:cNvSpPr/>
            <p:nvPr/>
          </p:nvSpPr>
          <p:spPr>
            <a:xfrm>
              <a:off x="8463070" y="4331668"/>
              <a:ext cx="61623" cy="2249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16" name="15 Rectángulo"/>
            <p:cNvSpPr/>
            <p:nvPr/>
          </p:nvSpPr>
          <p:spPr>
            <a:xfrm>
              <a:off x="7307248" y="3935433"/>
              <a:ext cx="52857" cy="1197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23" name="76 Grupo"/>
          <p:cNvGrpSpPr/>
          <p:nvPr>
            <p:custDataLst>
              <p:tags r:id="rId9"/>
            </p:custDataLst>
          </p:nvPr>
        </p:nvGrpSpPr>
        <p:grpSpPr>
          <a:xfrm>
            <a:off x="4024224" y="5434231"/>
            <a:ext cx="2471796" cy="1080621"/>
            <a:chOff x="2571736" y="5288074"/>
            <a:chExt cx="4643470" cy="1143570"/>
          </a:xfrm>
        </p:grpSpPr>
        <p:sp>
          <p:nvSpPr>
            <p:cNvPr id="24" name="23 Rectángulo"/>
            <p:cNvSpPr/>
            <p:nvPr/>
          </p:nvSpPr>
          <p:spPr>
            <a:xfrm>
              <a:off x="2571736" y="5934214"/>
              <a:ext cx="4643470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5" name="24 Rectángulo"/>
            <p:cNvSpPr/>
            <p:nvPr/>
          </p:nvSpPr>
          <p:spPr>
            <a:xfrm>
              <a:off x="2571736" y="6145330"/>
              <a:ext cx="4643470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6" name="25 Rectángulo"/>
            <p:cNvSpPr/>
            <p:nvPr/>
          </p:nvSpPr>
          <p:spPr>
            <a:xfrm>
              <a:off x="2571736" y="6359644"/>
              <a:ext cx="4643470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7" name="26 Rectángulo"/>
            <p:cNvSpPr/>
            <p:nvPr/>
          </p:nvSpPr>
          <p:spPr>
            <a:xfrm>
              <a:off x="2571736" y="5716702"/>
              <a:ext cx="4643470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8" name="27 Rectángulo"/>
            <p:cNvSpPr/>
            <p:nvPr/>
          </p:nvSpPr>
          <p:spPr>
            <a:xfrm>
              <a:off x="2571736" y="5502388"/>
              <a:ext cx="4643470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  <p:sp>
          <p:nvSpPr>
            <p:cNvPr id="29" name="28 Rectángulo"/>
            <p:cNvSpPr/>
            <p:nvPr/>
          </p:nvSpPr>
          <p:spPr>
            <a:xfrm>
              <a:off x="2571736" y="5288074"/>
              <a:ext cx="4643470" cy="72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  <a:effectLst/>
          </p:spPr>
          <p:style>
            <a:lnRef idx="1">
              <a:schemeClr val="accent6"/>
            </a:lnRef>
            <a:fillRef idx="3">
              <a:schemeClr val="accent6"/>
            </a:fillRef>
            <a:effectRef idx="2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L" dirty="0"/>
            </a:p>
          </p:txBody>
        </p:sp>
      </p:grpSp>
      <p:grpSp>
        <p:nvGrpSpPr>
          <p:cNvPr id="30" name="46 Grupo"/>
          <p:cNvGrpSpPr/>
          <p:nvPr>
            <p:custDataLst>
              <p:tags r:id="rId10"/>
            </p:custDataLst>
          </p:nvPr>
        </p:nvGrpSpPr>
        <p:grpSpPr>
          <a:xfrm>
            <a:off x="2868776" y="5389682"/>
            <a:ext cx="900000" cy="1153745"/>
            <a:chOff x="785786" y="5356140"/>
            <a:chExt cx="1656000" cy="1287570"/>
          </a:xfrm>
          <a:solidFill>
            <a:srgbClr val="FBCBA3"/>
          </a:solidFill>
        </p:grpSpPr>
        <p:sp>
          <p:nvSpPr>
            <p:cNvPr id="31" name="30 Rectángulo"/>
            <p:cNvSpPr/>
            <p:nvPr/>
          </p:nvSpPr>
          <p:spPr>
            <a:xfrm>
              <a:off x="785786" y="5356140"/>
              <a:ext cx="1656000" cy="216000"/>
            </a:xfrm>
            <a:prstGeom prst="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Ins="0" rtlCol="0" anchor="ctr"/>
            <a:lstStyle/>
            <a:p>
              <a:r>
                <a:rPr lang="es-CL" sz="1000" dirty="0" smtClean="0">
                  <a:solidFill>
                    <a:schemeClr val="tx1"/>
                  </a:solidFill>
                </a:rPr>
                <a:t>Precio Cu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32" name="31 Rectángulo"/>
            <p:cNvSpPr/>
            <p:nvPr/>
          </p:nvSpPr>
          <p:spPr>
            <a:xfrm>
              <a:off x="785786" y="5570454"/>
              <a:ext cx="1656000" cy="216000"/>
            </a:xfrm>
            <a:prstGeom prst="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Ins="0" rtlCol="0" anchor="ctr"/>
            <a:lstStyle/>
            <a:p>
              <a:r>
                <a:rPr lang="es-CL" sz="1000" dirty="0" smtClean="0">
                  <a:solidFill>
                    <a:schemeClr val="tx1"/>
                  </a:solidFill>
                </a:rPr>
                <a:t>Precio Moly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33" name="32 Rectángulo"/>
            <p:cNvSpPr/>
            <p:nvPr/>
          </p:nvSpPr>
          <p:spPr>
            <a:xfrm>
              <a:off x="785786" y="5786454"/>
              <a:ext cx="1656000" cy="214314"/>
            </a:xfrm>
            <a:prstGeom prst="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Ins="0" rtlCol="0" anchor="ctr"/>
            <a:lstStyle/>
            <a:p>
              <a:r>
                <a:rPr lang="es-CL" sz="1000" dirty="0" smtClean="0">
                  <a:solidFill>
                    <a:schemeClr val="tx1"/>
                  </a:solidFill>
                </a:rPr>
                <a:t>WTI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34" name="33 Rectángulo"/>
            <p:cNvSpPr/>
            <p:nvPr/>
          </p:nvSpPr>
          <p:spPr>
            <a:xfrm>
              <a:off x="785786" y="6000768"/>
              <a:ext cx="1656000" cy="214314"/>
            </a:xfrm>
            <a:prstGeom prst="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Ins="0" rtlCol="0" anchor="ctr"/>
            <a:lstStyle/>
            <a:p>
              <a:r>
                <a:rPr lang="es-CL" sz="1000" dirty="0" smtClean="0">
                  <a:solidFill>
                    <a:schemeClr val="tx1"/>
                  </a:solidFill>
                </a:rPr>
                <a:t>Tipo de cambio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35" name="34 Rectángulo"/>
            <p:cNvSpPr/>
            <p:nvPr/>
          </p:nvSpPr>
          <p:spPr>
            <a:xfrm>
              <a:off x="785786" y="6215082"/>
              <a:ext cx="1656000" cy="214314"/>
            </a:xfrm>
            <a:prstGeom prst="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Ins="0" rtlCol="0" anchor="ctr"/>
            <a:lstStyle/>
            <a:p>
              <a:r>
                <a:rPr lang="es-CL" sz="1000" dirty="0" smtClean="0">
                  <a:solidFill>
                    <a:schemeClr val="tx1"/>
                  </a:solidFill>
                </a:rPr>
                <a:t>IPC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36" name="35 Rectángulo"/>
            <p:cNvSpPr/>
            <p:nvPr/>
          </p:nvSpPr>
          <p:spPr>
            <a:xfrm>
              <a:off x="785786" y="6429396"/>
              <a:ext cx="1656000" cy="214314"/>
            </a:xfrm>
            <a:prstGeom prst="rect">
              <a:avLst/>
            </a:prstGeom>
            <a:ln w="12700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Ins="0" rtlCol="0" anchor="ctr"/>
            <a:lstStyle/>
            <a:p>
              <a:r>
                <a:rPr lang="es-CL" sz="1000" dirty="0" smtClean="0">
                  <a:solidFill>
                    <a:schemeClr val="tx1"/>
                  </a:solidFill>
                </a:rPr>
                <a:t>IPM USA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7" name="45 Grupo"/>
          <p:cNvGrpSpPr/>
          <p:nvPr>
            <p:custDataLst>
              <p:tags r:id="rId11"/>
            </p:custDataLst>
          </p:nvPr>
        </p:nvGrpSpPr>
        <p:grpSpPr>
          <a:xfrm>
            <a:off x="3770174" y="5389682"/>
            <a:ext cx="684000" cy="1153745"/>
            <a:chOff x="2428860" y="5357826"/>
            <a:chExt cx="1656000" cy="1287570"/>
          </a:xfrm>
          <a:solidFill>
            <a:srgbClr val="FBCBA3"/>
          </a:solidFill>
        </p:grpSpPr>
        <p:sp>
          <p:nvSpPr>
            <p:cNvPr id="38" name="37 Rectángulo"/>
            <p:cNvSpPr/>
            <p:nvPr/>
          </p:nvSpPr>
          <p:spPr>
            <a:xfrm>
              <a:off x="2428860" y="5357826"/>
              <a:ext cx="165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c/lb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39" name="38 Rectángulo"/>
            <p:cNvSpPr/>
            <p:nvPr/>
          </p:nvSpPr>
          <p:spPr>
            <a:xfrm>
              <a:off x="2428860" y="5572140"/>
              <a:ext cx="1656000" cy="21600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US$/Kg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0" name="39 Rectángulo"/>
            <p:cNvSpPr/>
            <p:nvPr/>
          </p:nvSpPr>
          <p:spPr>
            <a:xfrm>
              <a:off x="2428860" y="5788140"/>
              <a:ext cx="1656000" cy="21431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US$/barril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1" name="40 Rectángulo"/>
            <p:cNvSpPr/>
            <p:nvPr/>
          </p:nvSpPr>
          <p:spPr>
            <a:xfrm>
              <a:off x="2428860" y="6002454"/>
              <a:ext cx="1656000" cy="21431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$/US$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2" name="41 Rectángulo"/>
            <p:cNvSpPr/>
            <p:nvPr/>
          </p:nvSpPr>
          <p:spPr>
            <a:xfrm>
              <a:off x="2428860" y="6216768"/>
              <a:ext cx="1656000" cy="21431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Índice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3" name="42 Rectángulo"/>
            <p:cNvSpPr/>
            <p:nvPr/>
          </p:nvSpPr>
          <p:spPr>
            <a:xfrm>
              <a:off x="2428860" y="6431082"/>
              <a:ext cx="1656000" cy="214314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Índice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54 Grupo"/>
          <p:cNvGrpSpPr/>
          <p:nvPr>
            <p:custDataLst>
              <p:tags r:id="rId12"/>
            </p:custDataLst>
          </p:nvPr>
        </p:nvGrpSpPr>
        <p:grpSpPr>
          <a:xfrm>
            <a:off x="5856514" y="5389682"/>
            <a:ext cx="648000" cy="1153745"/>
            <a:chOff x="2428860" y="5357826"/>
            <a:chExt cx="1656000" cy="128757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5" name="44 Rectángulo"/>
            <p:cNvSpPr/>
            <p:nvPr/>
          </p:nvSpPr>
          <p:spPr>
            <a:xfrm>
              <a:off x="2428860" y="5357826"/>
              <a:ext cx="1656000" cy="216000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250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6" name="45 Rectángulo"/>
            <p:cNvSpPr/>
            <p:nvPr/>
          </p:nvSpPr>
          <p:spPr>
            <a:xfrm>
              <a:off x="2428860" y="5572140"/>
              <a:ext cx="1656000" cy="216000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20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7" name="46 Rectángulo"/>
            <p:cNvSpPr/>
            <p:nvPr/>
          </p:nvSpPr>
          <p:spPr>
            <a:xfrm>
              <a:off x="2428860" y="5788140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56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8" name="47 Rectángulo"/>
            <p:cNvSpPr/>
            <p:nvPr/>
          </p:nvSpPr>
          <p:spPr>
            <a:xfrm>
              <a:off x="2428860" y="6002454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630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49" name="48 Rectángulo"/>
            <p:cNvSpPr/>
            <p:nvPr/>
          </p:nvSpPr>
          <p:spPr>
            <a:xfrm>
              <a:off x="2428860" y="6216768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107,7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50" name="49 Rectángulo"/>
            <p:cNvSpPr/>
            <p:nvPr/>
          </p:nvSpPr>
          <p:spPr>
            <a:xfrm>
              <a:off x="2428860" y="6431082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209,8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51" name="61 Grupo"/>
          <p:cNvGrpSpPr/>
          <p:nvPr>
            <p:custDataLst>
              <p:tags r:id="rId13"/>
            </p:custDataLst>
          </p:nvPr>
        </p:nvGrpSpPr>
        <p:grpSpPr>
          <a:xfrm>
            <a:off x="4843334" y="5389682"/>
            <a:ext cx="648000" cy="1153745"/>
            <a:chOff x="2428860" y="5357826"/>
            <a:chExt cx="1656000" cy="1287570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52" name="51 Rectángulo"/>
            <p:cNvSpPr/>
            <p:nvPr/>
          </p:nvSpPr>
          <p:spPr>
            <a:xfrm>
              <a:off x="2428860" y="5357826"/>
              <a:ext cx="1656000" cy="216000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300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53" name="52 Rectángulo"/>
            <p:cNvSpPr/>
            <p:nvPr/>
          </p:nvSpPr>
          <p:spPr>
            <a:xfrm>
              <a:off x="2428860" y="5572140"/>
              <a:ext cx="1656000" cy="216000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20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54" name="53 Rectángulo"/>
            <p:cNvSpPr/>
            <p:nvPr/>
          </p:nvSpPr>
          <p:spPr>
            <a:xfrm>
              <a:off x="2428860" y="5788140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93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55" name="54 Rectángulo"/>
            <p:cNvSpPr/>
            <p:nvPr/>
          </p:nvSpPr>
          <p:spPr>
            <a:xfrm>
              <a:off x="2428860" y="6002454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603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56" name="55 Rectángulo"/>
            <p:cNvSpPr/>
            <p:nvPr/>
          </p:nvSpPr>
          <p:spPr>
            <a:xfrm>
              <a:off x="2428860" y="6216768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107,7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  <p:sp>
          <p:nvSpPr>
            <p:cNvPr id="57" name="56 Rectángulo"/>
            <p:cNvSpPr/>
            <p:nvPr/>
          </p:nvSpPr>
          <p:spPr>
            <a:xfrm>
              <a:off x="2428860" y="6431082"/>
              <a:ext cx="1656000" cy="214314"/>
            </a:xfrm>
            <a:prstGeom prst="rect">
              <a:avLst/>
            </a:prstGeom>
            <a:grpFill/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pPr algn="ctr"/>
              <a:r>
                <a:rPr lang="es-CL" sz="1000" dirty="0" smtClean="0">
                  <a:solidFill>
                    <a:schemeClr val="tx1"/>
                  </a:solidFill>
                </a:rPr>
                <a:t>209,8</a:t>
              </a:r>
              <a:endParaRPr lang="es-CL" sz="1000" dirty="0">
                <a:solidFill>
                  <a:schemeClr val="tx1"/>
                </a:solidFill>
              </a:endParaRPr>
            </a:p>
          </p:txBody>
        </p:sp>
      </p:grpSp>
      <p:sp>
        <p:nvSpPr>
          <p:cNvPr id="58" name="57 CuadroTexto"/>
          <p:cNvSpPr txBox="1"/>
          <p:nvPr>
            <p:custDataLst>
              <p:tags r:id="rId14"/>
            </p:custDataLst>
          </p:nvPr>
        </p:nvSpPr>
        <p:spPr>
          <a:xfrm>
            <a:off x="4759032" y="5085184"/>
            <a:ext cx="7989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800" b="1" dirty="0" smtClean="0"/>
              <a:t>Presupuesto 2015</a:t>
            </a:r>
            <a:endParaRPr lang="es-CL" sz="800" b="1" dirty="0"/>
          </a:p>
        </p:txBody>
      </p:sp>
      <p:sp>
        <p:nvSpPr>
          <p:cNvPr id="59" name="58 CuadroTexto"/>
          <p:cNvSpPr txBox="1"/>
          <p:nvPr>
            <p:custDataLst>
              <p:tags r:id="rId15"/>
            </p:custDataLst>
          </p:nvPr>
        </p:nvSpPr>
        <p:spPr>
          <a:xfrm>
            <a:off x="5775723" y="5085184"/>
            <a:ext cx="7989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800" b="1" dirty="0" smtClean="0"/>
              <a:t>PRC</a:t>
            </a:r>
          </a:p>
          <a:p>
            <a:pPr algn="ctr"/>
            <a:r>
              <a:rPr lang="es-CL" sz="800" b="1" dirty="0" smtClean="0"/>
              <a:t>2015</a:t>
            </a:r>
            <a:endParaRPr lang="es-CL" sz="800" b="1" dirty="0"/>
          </a:p>
        </p:txBody>
      </p:sp>
      <p:sp>
        <p:nvSpPr>
          <p:cNvPr id="60" name="59 Rectángulo"/>
          <p:cNvSpPr/>
          <p:nvPr>
            <p:custDataLst>
              <p:tags r:id="rId16"/>
            </p:custDataLst>
          </p:nvPr>
        </p:nvSpPr>
        <p:spPr>
          <a:xfrm>
            <a:off x="3565393" y="1033152"/>
            <a:ext cx="804726" cy="30875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  <p:sp>
        <p:nvSpPr>
          <p:cNvPr id="61" name="60 Rectángulo"/>
          <p:cNvSpPr/>
          <p:nvPr>
            <p:custDataLst>
              <p:tags r:id="rId17"/>
            </p:custDataLst>
          </p:nvPr>
        </p:nvSpPr>
        <p:spPr>
          <a:xfrm>
            <a:off x="4962953" y="848874"/>
            <a:ext cx="812770" cy="19834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1235466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>
          <a:xfrm>
            <a:off x="0" y="836712"/>
            <a:ext cx="9144000" cy="14401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graphicFrame>
        <p:nvGraphicFramePr>
          <p:cNvPr id="6" name="5 Objeto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96678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39550" y="260648"/>
            <a:ext cx="8316957" cy="576064"/>
          </a:xfrm>
        </p:spPr>
        <p:txBody>
          <a:bodyPr/>
          <a:lstStyle/>
          <a:p>
            <a:pPr algn="l"/>
            <a:r>
              <a:rPr lang="es-ES" sz="2800" dirty="0" smtClean="0"/>
              <a:t>RESULTADOS PLAN DE REDUCCIÓN DE COSTOS 2015</a:t>
            </a:r>
            <a:endParaRPr lang="es-ES" sz="2800" dirty="0"/>
          </a:p>
        </p:txBody>
      </p:sp>
      <p:sp>
        <p:nvSpPr>
          <p:cNvPr id="8" name="2 Marcador de contenido"/>
          <p:cNvSpPr>
            <a:spLocks noGrp="1"/>
          </p:cNvSpPr>
          <p:nvPr>
            <p:ph idx="1"/>
          </p:nvPr>
        </p:nvSpPr>
        <p:spPr>
          <a:xfrm>
            <a:off x="144016" y="890869"/>
            <a:ext cx="8892480" cy="1313995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es-MX" sz="2000" dirty="0" smtClean="0"/>
              <a:t>Meta para 2015 </a:t>
            </a:r>
            <a:r>
              <a:rPr lang="es-MX" sz="2800" b="1" dirty="0" smtClean="0">
                <a:solidFill>
                  <a:schemeClr val="accent6">
                    <a:lumMod val="75000"/>
                  </a:schemeClr>
                </a:solidFill>
              </a:rPr>
              <a:t>US$ 1.000 millone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s-MX" sz="2400" b="1" dirty="0" smtClean="0">
                <a:solidFill>
                  <a:schemeClr val="accent6">
                    <a:lumMod val="75000"/>
                  </a:schemeClr>
                </a:solidFill>
              </a:rPr>
              <a:t>US$ 1.203 millones </a:t>
            </a:r>
            <a:r>
              <a:rPr lang="es-MX" sz="2000" dirty="0" smtClean="0"/>
              <a:t>de menores costos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es-MX" sz="2400" b="1" dirty="0" smtClean="0">
                <a:solidFill>
                  <a:schemeClr val="accent6">
                    <a:lumMod val="75000"/>
                  </a:schemeClr>
                </a:solidFill>
              </a:rPr>
              <a:t>120% </a:t>
            </a:r>
            <a:r>
              <a:rPr lang="es-MX" sz="2000" dirty="0" smtClean="0"/>
              <a:t>cumplimiento respecto presupuesto</a:t>
            </a:r>
            <a:endParaRPr lang="es-CL" sz="2000" dirty="0"/>
          </a:p>
        </p:txBody>
      </p:sp>
      <p:pic>
        <p:nvPicPr>
          <p:cNvPr id="9" name="8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2276872"/>
            <a:ext cx="8028925" cy="4194315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>
          <a:xfrm>
            <a:off x="3275856" y="4869160"/>
            <a:ext cx="1152128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eta</a:t>
            </a:r>
          </a:p>
          <a:p>
            <a:r>
              <a:rPr lang="es-C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S$ 493</a:t>
            </a:r>
          </a:p>
          <a:p>
            <a:r>
              <a:rPr lang="es-C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illones</a:t>
            </a:r>
            <a:endParaRPr lang="es-CL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4860032" y="4869160"/>
            <a:ext cx="1152128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s-C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eta</a:t>
            </a:r>
          </a:p>
          <a:p>
            <a:pPr algn="r"/>
            <a:r>
              <a:rPr lang="es-C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US$ 489</a:t>
            </a:r>
          </a:p>
          <a:p>
            <a:pPr algn="r"/>
            <a:r>
              <a:rPr lang="es-CL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millones</a:t>
            </a:r>
            <a:endParaRPr lang="es-CL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5148064" y="2730406"/>
            <a:ext cx="3600401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s-CL" sz="16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SUMOS CRÍTICOS Y TIPO DE CAMBIO</a:t>
            </a:r>
            <a:endParaRPr lang="es-CL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2897829" y="2276872"/>
            <a:ext cx="360040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es-CL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7092280" y="5448992"/>
            <a:ext cx="1152128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rgbClr val="C00000"/>
                </a:solidFill>
              </a:rPr>
              <a:t>134%</a:t>
            </a:r>
            <a:endParaRPr lang="es-CL" sz="2800" b="1" dirty="0">
              <a:solidFill>
                <a:srgbClr val="C00000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7128252" y="4509120"/>
            <a:ext cx="1620213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sz="2400" b="1" dirty="0" smtClean="0"/>
              <a:t>US$656</a:t>
            </a:r>
          </a:p>
          <a:p>
            <a:pPr algn="ctr"/>
            <a:r>
              <a:rPr lang="es-CL" sz="2400" b="1" dirty="0" smtClean="0"/>
              <a:t>millones</a:t>
            </a:r>
            <a:endParaRPr lang="es-CL" sz="2400" b="1" dirty="0"/>
          </a:p>
        </p:txBody>
      </p:sp>
    </p:spTree>
    <p:extLst>
      <p:ext uri="{BB962C8B-B14F-4D97-AF65-F5344CB8AC3E}">
        <p14:creationId xmlns:p14="http://schemas.microsoft.com/office/powerpoint/2010/main" val="952553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loi7_dykS6LRzElUvk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Np7YM_6kWiWArrOxV_7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_8GGqv8kKvRwdFdbdVp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Vw2Vib6UOUEaSP0wdo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yY9saiTUGm59m5OePh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l0SnwW9Emm5_b5C4ig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alwWKAm0itfGp3.VAV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NUeXyUkqbTICqDSkQ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CUvhcoLkenGFhkKwmmh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BGohboRkmF.FLciV0h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8SSNlK8UKnafXn1IZxD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PfiIQZGkul6QWDX6wD3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WWZAsao02DlTH7B11T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EoFhSckuP33C6ZD8g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f5iOm1nU.krZJXuCwX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qaoMcz1Uq0eGcy_dFTx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VLlChUuUOHCqtF3jyDe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e7NtrqcUuvNEutoagyT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iyCHFTaEiqV4Drh4Ca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4x1OrfcUqHw7CnJHxr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9JGkl3oECv3TGYreaV9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PYpRixAkStCp0GyCBC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C6DRoUHEu9zBdY.mS.0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LjaD.kV02cjK2EDdLd5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iyCHFTaEiqV4Drh4Ca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w_OvbSd0O8dxhpz6oTK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C545"/>
    </a:dk2>
    <a:lt2>
      <a:srgbClr val="476F6E"/>
    </a:lt2>
    <a:accent1>
      <a:srgbClr val="FFFFCC"/>
    </a:accent1>
    <a:accent2>
      <a:srgbClr val="FF9900"/>
    </a:accent2>
    <a:accent3>
      <a:srgbClr val="FFFFFF"/>
    </a:accent3>
    <a:accent4>
      <a:srgbClr val="000000"/>
    </a:accent4>
    <a:accent5>
      <a:srgbClr val="FFFFE2"/>
    </a:accent5>
    <a:accent6>
      <a:srgbClr val="E78A00"/>
    </a:accent6>
    <a:hlink>
      <a:srgbClr val="3E7D7C"/>
    </a:hlink>
    <a:folHlink>
      <a:srgbClr val="99CCCC"/>
    </a:folHlink>
  </a:clrScheme>
  <a:fontScheme name="CODELCO 2010 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C545"/>
    </a:dk2>
    <a:lt2>
      <a:srgbClr val="476F6E"/>
    </a:lt2>
    <a:accent1>
      <a:srgbClr val="FFFFCC"/>
    </a:accent1>
    <a:accent2>
      <a:srgbClr val="FF9900"/>
    </a:accent2>
    <a:accent3>
      <a:srgbClr val="FFFFFF"/>
    </a:accent3>
    <a:accent4>
      <a:srgbClr val="000000"/>
    </a:accent4>
    <a:accent5>
      <a:srgbClr val="FFFFE2"/>
    </a:accent5>
    <a:accent6>
      <a:srgbClr val="E78A00"/>
    </a:accent6>
    <a:hlink>
      <a:srgbClr val="3E7D7C"/>
    </a:hlink>
    <a:folHlink>
      <a:srgbClr val="99CCCC"/>
    </a:folHlink>
  </a:clrScheme>
  <a:fontScheme name="CODELCO 2010 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C545"/>
    </a:dk2>
    <a:lt2>
      <a:srgbClr val="476F6E"/>
    </a:lt2>
    <a:accent1>
      <a:srgbClr val="FFFFCC"/>
    </a:accent1>
    <a:accent2>
      <a:srgbClr val="FF9900"/>
    </a:accent2>
    <a:accent3>
      <a:srgbClr val="FFFFFF"/>
    </a:accent3>
    <a:accent4>
      <a:srgbClr val="000000"/>
    </a:accent4>
    <a:accent5>
      <a:srgbClr val="FFFFE2"/>
    </a:accent5>
    <a:accent6>
      <a:srgbClr val="E78A00"/>
    </a:accent6>
    <a:hlink>
      <a:srgbClr val="3E7D7C"/>
    </a:hlink>
    <a:folHlink>
      <a:srgbClr val="99CCCC"/>
    </a:folHlink>
  </a:clrScheme>
  <a:fontScheme name="CODELCO 2010 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">
    <a:dk1>
      <a:srgbClr val="000000"/>
    </a:dk1>
    <a:lt1>
      <a:srgbClr val="FFFFFF"/>
    </a:lt1>
    <a:dk2>
      <a:srgbClr val="FFC545"/>
    </a:dk2>
    <a:lt2>
      <a:srgbClr val="476F6E"/>
    </a:lt2>
    <a:accent1>
      <a:srgbClr val="FFFFCC"/>
    </a:accent1>
    <a:accent2>
      <a:srgbClr val="FF9900"/>
    </a:accent2>
    <a:accent3>
      <a:srgbClr val="FFFFFF"/>
    </a:accent3>
    <a:accent4>
      <a:srgbClr val="000000"/>
    </a:accent4>
    <a:accent5>
      <a:srgbClr val="FFFFE2"/>
    </a:accent5>
    <a:accent6>
      <a:srgbClr val="E78A00"/>
    </a:accent6>
    <a:hlink>
      <a:srgbClr val="3E7D7C"/>
    </a:hlink>
    <a:folHlink>
      <a:srgbClr val="99CCCC"/>
    </a:folHlink>
  </a:clrScheme>
  <a:fontScheme name="CODELCO 2010 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artoné">
    <a:dk1>
      <a:sysClr val="windowText" lastClr="000000"/>
    </a:dk1>
    <a:lt1>
      <a:sysClr val="window" lastClr="FFFFFF"/>
    </a:lt1>
    <a:dk2>
      <a:srgbClr val="895D1D"/>
    </a:dk2>
    <a:lt2>
      <a:srgbClr val="ECE9C6"/>
    </a:lt2>
    <a:accent1>
      <a:srgbClr val="873624"/>
    </a:accent1>
    <a:accent2>
      <a:srgbClr val="D6862D"/>
    </a:accent2>
    <a:accent3>
      <a:srgbClr val="D0BE40"/>
    </a:accent3>
    <a:accent4>
      <a:srgbClr val="877F6C"/>
    </a:accent4>
    <a:accent5>
      <a:srgbClr val="972109"/>
    </a:accent5>
    <a:accent6>
      <a:srgbClr val="AEB795"/>
    </a:accent6>
    <a:hlink>
      <a:srgbClr val="CC9900"/>
    </a:hlink>
    <a:folHlink>
      <a:srgbClr val="B2B2B2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188</TotalTime>
  <Words>494</Words>
  <Application>Microsoft Office PowerPoint</Application>
  <PresentationFormat>Presentación en pantalla (4:3)</PresentationFormat>
  <Paragraphs>138</Paragraphs>
  <Slides>13</Slides>
  <Notes>0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Vínculos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7" baseType="lpstr">
      <vt:lpstr>Tema de Office</vt:lpstr>
      <vt:lpstr>C:\Users\cmarquez\AppData\Local\Microsoft\Windows\Temporary Internet Files\Content.Outlook\O5WW128J\Factorial 13-14-15-16.xlsx!Factorial Costo C1 16-15 (2)![Factorial 13-14-15-16.xlsx]Factorial Costo C1 16-15 (2) 1 Gráfico</vt:lpstr>
      <vt:lpstr>C:\Users\cmarquez\AppData\Local\Microsoft\Windows\Temporary Internet Files\Content.Outlook\O5WW128J\Libro1!Hoja1!F5C4:F12C15</vt:lpstr>
      <vt:lpstr>think-cell Slide</vt:lpstr>
      <vt:lpstr>Presentación de PowerPoint</vt:lpstr>
      <vt:lpstr>Proyecciones económicas</vt:lpstr>
      <vt:lpstr>PRECIO DEL COBRE</vt:lpstr>
      <vt:lpstr>PROYECCIONES ECONÓMICAS</vt:lpstr>
      <vt:lpstr>LAS PROYECCIONES DE PRECIOS SE HAN HECHO CADA VEZ MÁS CONSERVADORAS</vt:lpstr>
      <vt:lpstr>LOS RIESGOS DEL NUEVO ENFOQUE DE CHINA</vt:lpstr>
      <vt:lpstr>Resultados plan de reducción de costos 2015</vt:lpstr>
      <vt:lpstr>LO QUE COMPROMETIMOS: PLAN DE REDUCCIÓN DE COSTOS 2015</vt:lpstr>
      <vt:lpstr>RESULTADOS PLAN DE REDUCCIÓN DE COSTOS 2015</vt:lpstr>
      <vt:lpstr>Profundización del plan de reducción de costos para 2016</vt:lpstr>
      <vt:lpstr>PROYECCIÓN  CIERRE 2015 – PRESUPUESTO 2016 OPTIMIZADO (MUS$) Comparación Costo Caja</vt:lpstr>
      <vt:lpstr>EVOLUCIÓN PRESUPUESTO 2016</vt:lpstr>
      <vt:lpstr>Presentación de PowerPoint</vt:lpstr>
    </vt:vector>
  </TitlesOfParts>
  <Company>CODELC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Tolmo Pacheco Cecilia (Codelco-Casa Matriz)</dc:creator>
  <cp:lastModifiedBy>Guijarro Vilela Sandra (Codelco-Casa Matriz)</cp:lastModifiedBy>
  <cp:revision>190</cp:revision>
  <dcterms:created xsi:type="dcterms:W3CDTF">2015-09-16T13:15:40Z</dcterms:created>
  <dcterms:modified xsi:type="dcterms:W3CDTF">2016-01-14T13:33:13Z</dcterms:modified>
</cp:coreProperties>
</file>